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961" r:id="rId1"/>
    <p:sldMasterId id="2147484051" r:id="rId2"/>
    <p:sldMasterId id="2147484098" r:id="rId3"/>
    <p:sldMasterId id="2147484134" r:id="rId4"/>
  </p:sldMasterIdLst>
  <p:notesMasterIdLst>
    <p:notesMasterId r:id="rId23"/>
  </p:notesMasterIdLst>
  <p:handoutMasterIdLst>
    <p:handoutMasterId r:id="rId24"/>
  </p:handoutMasterIdLst>
  <p:sldIdLst>
    <p:sldId id="2142532909" r:id="rId5"/>
    <p:sldId id="2142532949" r:id="rId6"/>
    <p:sldId id="264" r:id="rId7"/>
    <p:sldId id="362" r:id="rId8"/>
    <p:sldId id="262" r:id="rId9"/>
    <p:sldId id="2147374346" r:id="rId10"/>
    <p:sldId id="2147374345" r:id="rId11"/>
    <p:sldId id="2142532427" r:id="rId12"/>
    <p:sldId id="2142532924" r:id="rId13"/>
    <p:sldId id="2142532846" r:id="rId14"/>
    <p:sldId id="2142532921" r:id="rId15"/>
    <p:sldId id="2142532926" r:id="rId16"/>
    <p:sldId id="2142532927" r:id="rId17"/>
    <p:sldId id="2142532928" r:id="rId18"/>
    <p:sldId id="2142532929" r:id="rId19"/>
    <p:sldId id="2142532930" r:id="rId20"/>
    <p:sldId id="377" r:id="rId21"/>
    <p:sldId id="2142532940" r:id="rId22"/>
  </p:sldIdLst>
  <p:sldSz cx="24387175" cy="13716000"/>
  <p:notesSz cx="6858000" cy="9144000"/>
  <p:embeddedFontLst>
    <p:embeddedFont>
      <p:font typeface="HelvNeue Light for IBM" panose="020F0502020204030204" pitchFamily="34" charset="0"/>
      <p:regular r:id="rId25"/>
      <p:bold r:id="rId26"/>
      <p:italic r:id="rId27"/>
      <p:boldItalic r:id="rId28"/>
    </p:embeddedFont>
    <p:embeddedFont>
      <p:font typeface="IBM Plex Sans" panose="020B0503050203000203" pitchFamily="34" charset="0"/>
      <p:regular r:id="rId29"/>
      <p:bold r:id="rId30"/>
      <p:italic r:id="rId31"/>
      <p:boldItalic r:id="rId32"/>
    </p:embeddedFont>
    <p:embeddedFont>
      <p:font typeface="IBM Plex Sans ExtraLight" panose="020B0303050203000203" pitchFamily="34" charset="0"/>
      <p:regular r:id="rId33"/>
      <p:italic r:id="rId34"/>
    </p:embeddedFont>
    <p:embeddedFont>
      <p:font typeface="IBM Plex Sans Light" panose="020B0403050203000203" pitchFamily="34" charset="0"/>
      <p:regular r:id="rId35"/>
      <p:italic r:id="rId36"/>
    </p:embeddedFont>
    <p:embeddedFont>
      <p:font typeface="IBM Plex Serif Light" panose="020F0302020204030204" pitchFamily="34" charset="0"/>
      <p:regular r:id="rId37"/>
      <p:italic r:id="rId38"/>
    </p:embeddedFont>
  </p:embeddedFontLst>
  <p:defaultTextStyle>
    <a:defPPr>
      <a:defRPr lang="en-US"/>
    </a:defPPr>
    <a:lvl1pPr marL="0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68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9379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406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8759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3447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813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2827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7518" algn="l" defTabSz="182937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443ED59-20C7-4FDF-8DCA-8A14D1AA1C8C}" name="Microsoft Office User" initials="MOU" userId="Microsoft Office User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1CFFF"/>
    <a:srgbClr val="1192E8"/>
    <a:srgbClr val="F7F3F2"/>
    <a:srgbClr val="F3F3F3"/>
    <a:srgbClr val="F0F0F0"/>
    <a:srgbClr val="FCF4D6"/>
    <a:srgbClr val="FFF1F1"/>
    <a:srgbClr val="E5F6FF"/>
    <a:srgbClr val="F1A21B"/>
    <a:srgbClr val="E08A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4D6F8-0CA9-4844-A669-35E09AC662DF}" v="7" dt="2024-05-31T13:59:18.5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90"/>
    <p:restoredTop sz="93434"/>
  </p:normalViewPr>
  <p:slideViewPr>
    <p:cSldViewPr snapToGrid="0" snapToObjects="1">
      <p:cViewPr varScale="1">
        <p:scale>
          <a:sx n="56" d="100"/>
          <a:sy n="56" d="100"/>
        </p:scale>
        <p:origin x="952" y="184"/>
      </p:cViewPr>
      <p:guideLst/>
    </p:cSldViewPr>
  </p:slideViewPr>
  <p:outlineViewPr>
    <p:cViewPr>
      <p:scale>
        <a:sx n="33" d="100"/>
        <a:sy n="33" d="100"/>
      </p:scale>
      <p:origin x="0" y="-5999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2.fntdata"/><Relationship Id="rId39" Type="http://schemas.openxmlformats.org/officeDocument/2006/relationships/commentAuthors" Target="commentAuthors.xml"/><Relationship Id="rId21" Type="http://schemas.openxmlformats.org/officeDocument/2006/relationships/slide" Target="slides/slide17.xml"/><Relationship Id="rId34" Type="http://schemas.openxmlformats.org/officeDocument/2006/relationships/font" Target="fonts/font10.fntdata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presProps" Target="presProps.xml"/><Relationship Id="rId45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7.fntdata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20" Type="http://schemas.openxmlformats.org/officeDocument/2006/relationships/slide" Target="slides/slide16.xml"/><Relationship Id="rId4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3BD0F8-B168-4C42-BF16-B1D695410085}" type="doc">
      <dgm:prSet loTypeId="urn:microsoft.com/office/officeart/2005/8/layout/radial2" loCatId="relationship" qsTypeId="urn:microsoft.com/office/officeart/2005/8/quickstyle/simple5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62CB5BD3-6FD8-4353-AA2C-0B073CED841C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3600" dirty="0">
              <a:solidFill>
                <a:schemeClr val="bg1"/>
              </a:solidFill>
              <a:latin typeface="+mn-lt"/>
            </a:rPr>
            <a:t>Problem Solving </a:t>
          </a:r>
        </a:p>
      </dgm:t>
    </dgm:pt>
    <dgm:pt modelId="{9B55CF11-65D3-4C4B-9B4B-A5130E94EF4A}" type="parTrans" cxnId="{CA1F091C-4456-4D5F-80D3-EB876B0F6F13}">
      <dgm:prSet/>
      <dgm:spPr/>
      <dgm:t>
        <a:bodyPr/>
        <a:lstStyle/>
        <a:p>
          <a:endParaRPr lang="en-US"/>
        </a:p>
      </dgm:t>
    </dgm:pt>
    <dgm:pt modelId="{05645CC2-DE72-49EF-B692-8ECED934AF15}" type="sibTrans" cxnId="{CA1F091C-4456-4D5F-80D3-EB876B0F6F13}">
      <dgm:prSet/>
      <dgm:spPr/>
      <dgm:t>
        <a:bodyPr/>
        <a:lstStyle/>
        <a:p>
          <a:endParaRPr lang="en-US"/>
        </a:p>
      </dgm:t>
    </dgm:pt>
    <dgm:pt modelId="{69F6E812-922F-4510-AA08-C614A86B7151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3600" dirty="0">
              <a:solidFill>
                <a:schemeClr val="bg1"/>
              </a:solidFill>
              <a:latin typeface="+mn-lt"/>
            </a:rPr>
            <a:t>Teamwork</a:t>
          </a:r>
        </a:p>
      </dgm:t>
    </dgm:pt>
    <dgm:pt modelId="{5941A8EF-1F53-4114-9A6B-B9B62804743A}" type="parTrans" cxnId="{9BFD7EE8-85D9-4B14-B923-94D127972ABE}">
      <dgm:prSet/>
      <dgm:spPr/>
      <dgm:t>
        <a:bodyPr/>
        <a:lstStyle/>
        <a:p>
          <a:endParaRPr lang="en-US"/>
        </a:p>
      </dgm:t>
    </dgm:pt>
    <dgm:pt modelId="{975E6B94-F9C9-422A-8A05-E2150CBAAD58}" type="sibTrans" cxnId="{9BFD7EE8-85D9-4B14-B923-94D127972ABE}">
      <dgm:prSet/>
      <dgm:spPr/>
      <dgm:t>
        <a:bodyPr/>
        <a:lstStyle/>
        <a:p>
          <a:endParaRPr lang="en-US"/>
        </a:p>
      </dgm:t>
    </dgm:pt>
    <dgm:pt modelId="{B4354A50-368D-4011-A173-D26713424427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3600" dirty="0">
              <a:solidFill>
                <a:schemeClr val="bg1"/>
              </a:solidFill>
              <a:latin typeface="+mn-lt"/>
            </a:rPr>
            <a:t>Adaptability / Curiosity</a:t>
          </a:r>
        </a:p>
      </dgm:t>
    </dgm:pt>
    <dgm:pt modelId="{67FFE2C2-20A0-4E7B-809D-0F370578F052}" type="parTrans" cxnId="{A8907D84-1DCB-4DA0-B3F3-B46F369AB5F7}">
      <dgm:prSet/>
      <dgm:spPr/>
      <dgm:t>
        <a:bodyPr/>
        <a:lstStyle/>
        <a:p>
          <a:endParaRPr lang="en-US"/>
        </a:p>
      </dgm:t>
    </dgm:pt>
    <dgm:pt modelId="{62AC661A-F586-4113-B703-D58E7F24F51B}" type="sibTrans" cxnId="{A8907D84-1DCB-4DA0-B3F3-B46F369AB5F7}">
      <dgm:prSet/>
      <dgm:spPr/>
      <dgm:t>
        <a:bodyPr/>
        <a:lstStyle/>
        <a:p>
          <a:endParaRPr lang="en-US"/>
        </a:p>
      </dgm:t>
    </dgm:pt>
    <dgm:pt modelId="{EE963316-8BA4-4FDE-AA22-41051760AF23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3600" dirty="0">
              <a:solidFill>
                <a:schemeClr val="bg1"/>
              </a:solidFill>
              <a:latin typeface="+mn-lt"/>
            </a:rPr>
            <a:t>Creativity</a:t>
          </a:r>
        </a:p>
      </dgm:t>
    </dgm:pt>
    <dgm:pt modelId="{A3956697-9E9D-4F68-8043-B1037072D302}" type="parTrans" cxnId="{A564BAA2-0AA2-4D3D-988C-AE94CD6D5306}">
      <dgm:prSet/>
      <dgm:spPr/>
      <dgm:t>
        <a:bodyPr/>
        <a:lstStyle/>
        <a:p>
          <a:endParaRPr lang="en-US"/>
        </a:p>
      </dgm:t>
    </dgm:pt>
    <dgm:pt modelId="{9FE11539-BF71-4C90-BFFB-1BBFD3E4BD00}" type="sibTrans" cxnId="{A564BAA2-0AA2-4D3D-988C-AE94CD6D5306}">
      <dgm:prSet/>
      <dgm:spPr/>
      <dgm:t>
        <a:bodyPr/>
        <a:lstStyle/>
        <a:p>
          <a:endParaRPr lang="en-US"/>
        </a:p>
      </dgm:t>
    </dgm:pt>
    <dgm:pt modelId="{65344BFE-CF47-4DE1-A5DE-AE2516925C79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2900" dirty="0">
              <a:solidFill>
                <a:schemeClr val="bg1"/>
              </a:solidFill>
              <a:latin typeface="+mn-lt"/>
            </a:rPr>
            <a:t>Communication</a:t>
          </a:r>
        </a:p>
      </dgm:t>
    </dgm:pt>
    <dgm:pt modelId="{5D18220B-0DA0-4041-8C38-EF826BB11E08}" type="parTrans" cxnId="{E12F4ABB-4899-454B-9637-FCE44DC6FF70}">
      <dgm:prSet/>
      <dgm:spPr/>
      <dgm:t>
        <a:bodyPr/>
        <a:lstStyle/>
        <a:p>
          <a:endParaRPr lang="en-US"/>
        </a:p>
      </dgm:t>
    </dgm:pt>
    <dgm:pt modelId="{B6891AB2-CDD3-43F4-A133-104B26E2B5D4}" type="sibTrans" cxnId="{E12F4ABB-4899-454B-9637-FCE44DC6FF70}">
      <dgm:prSet/>
      <dgm:spPr/>
      <dgm:t>
        <a:bodyPr/>
        <a:lstStyle/>
        <a:p>
          <a:endParaRPr lang="en-US"/>
        </a:p>
      </dgm:t>
    </dgm:pt>
    <dgm:pt modelId="{2AB675E9-A17E-421B-BE14-AC01727D3B0D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3600" dirty="0">
              <a:solidFill>
                <a:schemeClr val="bg1"/>
              </a:solidFill>
              <a:latin typeface="+mn-lt"/>
            </a:rPr>
            <a:t>Critical Thinking</a:t>
          </a:r>
        </a:p>
      </dgm:t>
    </dgm:pt>
    <dgm:pt modelId="{722DBD12-8415-4D09-A185-85FC1DD89988}" type="parTrans" cxnId="{4E2C3380-736C-4DB7-8DE1-482EF6E7839B}">
      <dgm:prSet/>
      <dgm:spPr/>
      <dgm:t>
        <a:bodyPr/>
        <a:lstStyle/>
        <a:p>
          <a:endParaRPr lang="en-US"/>
        </a:p>
      </dgm:t>
    </dgm:pt>
    <dgm:pt modelId="{52A7D1B1-66BF-4B57-B128-D96EE9BAACA9}" type="sibTrans" cxnId="{4E2C3380-736C-4DB7-8DE1-482EF6E7839B}">
      <dgm:prSet/>
      <dgm:spPr/>
      <dgm:t>
        <a:bodyPr/>
        <a:lstStyle/>
        <a:p>
          <a:endParaRPr lang="en-US"/>
        </a:p>
      </dgm:t>
    </dgm:pt>
    <dgm:pt modelId="{8ED34109-EE5A-47B7-B788-6828FC5639DB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3400" dirty="0">
              <a:solidFill>
                <a:schemeClr val="bg1"/>
              </a:solidFill>
              <a:latin typeface="+mn-lt"/>
            </a:rPr>
            <a:t>Collaborative</a:t>
          </a:r>
        </a:p>
      </dgm:t>
    </dgm:pt>
    <dgm:pt modelId="{D7162B1F-D0B5-41C1-AD6D-078D323FAC76}" type="parTrans" cxnId="{1FB6D728-328E-4927-9A3C-0707F7E8854C}">
      <dgm:prSet/>
      <dgm:spPr/>
      <dgm:t>
        <a:bodyPr/>
        <a:lstStyle/>
        <a:p>
          <a:endParaRPr lang="en-US"/>
        </a:p>
      </dgm:t>
    </dgm:pt>
    <dgm:pt modelId="{CEC4FF5C-7F6A-4F70-83BF-C3C341FBDFA5}" type="sibTrans" cxnId="{1FB6D728-328E-4927-9A3C-0707F7E8854C}">
      <dgm:prSet/>
      <dgm:spPr/>
      <dgm:t>
        <a:bodyPr/>
        <a:lstStyle/>
        <a:p>
          <a:endParaRPr lang="en-US"/>
        </a:p>
      </dgm:t>
    </dgm:pt>
    <dgm:pt modelId="{A8A5DF9B-EA6F-484F-A158-796E05401CBA}" type="pres">
      <dgm:prSet presAssocID="{E73BD0F8-B168-4C42-BF16-B1D695410085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DB5DEF0C-3F8F-434C-8394-E6014A3817B2}" type="pres">
      <dgm:prSet presAssocID="{E73BD0F8-B168-4C42-BF16-B1D695410085}" presName="cycle" presStyleCnt="0"/>
      <dgm:spPr/>
    </dgm:pt>
    <dgm:pt modelId="{6737D7DB-1DD8-4D0E-BCEF-4897D60F522F}" type="pres">
      <dgm:prSet presAssocID="{E73BD0F8-B168-4C42-BF16-B1D695410085}" presName="centerShape" presStyleCnt="0"/>
      <dgm:spPr/>
    </dgm:pt>
    <dgm:pt modelId="{1B4E7713-3750-48AB-BCC0-022174DA8601}" type="pres">
      <dgm:prSet presAssocID="{E73BD0F8-B168-4C42-BF16-B1D695410085}" presName="connSite" presStyleLbl="node1" presStyleIdx="0" presStyleCnt="8"/>
      <dgm:spPr/>
    </dgm:pt>
    <dgm:pt modelId="{52F425C3-D510-4B33-8DB2-612D61197E0C}" type="pres">
      <dgm:prSet presAssocID="{E73BD0F8-B168-4C42-BF16-B1D695410085}" presName="visible" presStyleLbl="node1" presStyleIdx="0" presStyleCnt="8"/>
      <dgm:spPr>
        <a:solidFill>
          <a:schemeClr val="bg1"/>
        </a:solidFill>
        <a:ln>
          <a:solidFill>
            <a:schemeClr val="accent2"/>
          </a:solidFill>
        </a:ln>
      </dgm:spPr>
    </dgm:pt>
    <dgm:pt modelId="{39DB2D77-76BE-480F-9E26-182B9B893A6D}" type="pres">
      <dgm:prSet presAssocID="{9B55CF11-65D3-4C4B-9B4B-A5130E94EF4A}" presName="Name25" presStyleLbl="parChTrans1D1" presStyleIdx="0" presStyleCnt="7"/>
      <dgm:spPr/>
    </dgm:pt>
    <dgm:pt modelId="{18D42CA0-F040-4FF8-9D8C-D91B83062B3C}" type="pres">
      <dgm:prSet presAssocID="{62CB5BD3-6FD8-4353-AA2C-0B073CED841C}" presName="node" presStyleCnt="0"/>
      <dgm:spPr/>
    </dgm:pt>
    <dgm:pt modelId="{1569F2AE-1645-4D80-91CC-F5F5A97FB683}" type="pres">
      <dgm:prSet presAssocID="{62CB5BD3-6FD8-4353-AA2C-0B073CED841C}" presName="parentNode" presStyleLbl="node1" presStyleIdx="1" presStyleCnt="8" custScaleX="267007" custScaleY="278108" custLinFactX="-259668" custLinFactY="300000" custLinFactNeighborX="-300000" custLinFactNeighborY="317672">
        <dgm:presLayoutVars>
          <dgm:chMax val="1"/>
          <dgm:bulletEnabled val="1"/>
        </dgm:presLayoutVars>
      </dgm:prSet>
      <dgm:spPr/>
    </dgm:pt>
    <dgm:pt modelId="{29424B08-C960-4C61-BFB9-487ACF721F35}" type="pres">
      <dgm:prSet presAssocID="{62CB5BD3-6FD8-4353-AA2C-0B073CED841C}" presName="childNode" presStyleLbl="revTx" presStyleIdx="0" presStyleCnt="0">
        <dgm:presLayoutVars>
          <dgm:bulletEnabled val="1"/>
        </dgm:presLayoutVars>
      </dgm:prSet>
      <dgm:spPr/>
    </dgm:pt>
    <dgm:pt modelId="{A74F9948-C864-4D2B-B43B-42C7CBB6E8B9}" type="pres">
      <dgm:prSet presAssocID="{5941A8EF-1F53-4114-9A6B-B9B62804743A}" presName="Name25" presStyleLbl="parChTrans1D1" presStyleIdx="1" presStyleCnt="7"/>
      <dgm:spPr/>
    </dgm:pt>
    <dgm:pt modelId="{943EC47A-1439-45D1-AFB1-C92D859C1DA8}" type="pres">
      <dgm:prSet presAssocID="{69F6E812-922F-4510-AA08-C614A86B7151}" presName="node" presStyleCnt="0"/>
      <dgm:spPr/>
    </dgm:pt>
    <dgm:pt modelId="{38EDB502-9E4F-44C6-8DB9-576AE573D709}" type="pres">
      <dgm:prSet presAssocID="{69F6E812-922F-4510-AA08-C614A86B7151}" presName="parentNode" presStyleLbl="node1" presStyleIdx="2" presStyleCnt="8" custScaleX="267007" custScaleY="278108" custLinFactX="-314066" custLinFactY="100000" custLinFactNeighborX="-400000" custLinFactNeighborY="107815">
        <dgm:presLayoutVars>
          <dgm:chMax val="1"/>
          <dgm:bulletEnabled val="1"/>
        </dgm:presLayoutVars>
      </dgm:prSet>
      <dgm:spPr/>
    </dgm:pt>
    <dgm:pt modelId="{721302DA-973A-4F44-AD26-BEE7870CCFEA}" type="pres">
      <dgm:prSet presAssocID="{69F6E812-922F-4510-AA08-C614A86B7151}" presName="childNode" presStyleLbl="revTx" presStyleIdx="0" presStyleCnt="0">
        <dgm:presLayoutVars>
          <dgm:bulletEnabled val="1"/>
        </dgm:presLayoutVars>
      </dgm:prSet>
      <dgm:spPr/>
    </dgm:pt>
    <dgm:pt modelId="{200D1811-0592-4B69-81A1-20D05307551F}" type="pres">
      <dgm:prSet presAssocID="{67FFE2C2-20A0-4E7B-809D-0F370578F052}" presName="Name25" presStyleLbl="parChTrans1D1" presStyleIdx="2" presStyleCnt="7"/>
      <dgm:spPr/>
    </dgm:pt>
    <dgm:pt modelId="{ED97FDB0-0AD1-4999-B733-F32B77E8A1A6}" type="pres">
      <dgm:prSet presAssocID="{B4354A50-368D-4011-A173-D26713424427}" presName="node" presStyleCnt="0"/>
      <dgm:spPr/>
    </dgm:pt>
    <dgm:pt modelId="{18E3F351-B639-4067-BEAE-793AE5FE0674}" type="pres">
      <dgm:prSet presAssocID="{B4354A50-368D-4011-A173-D26713424427}" presName="parentNode" presStyleLbl="node1" presStyleIdx="3" presStyleCnt="8" custScaleX="281936" custScaleY="278108" custLinFactX="-299419" custLinFactY="-70479" custLinFactNeighborX="-300000" custLinFactNeighborY="-100000">
        <dgm:presLayoutVars>
          <dgm:chMax val="1"/>
          <dgm:bulletEnabled val="1"/>
        </dgm:presLayoutVars>
      </dgm:prSet>
      <dgm:spPr/>
    </dgm:pt>
    <dgm:pt modelId="{8F245BFC-13B1-4774-8FDC-5A0398472270}" type="pres">
      <dgm:prSet presAssocID="{B4354A50-368D-4011-A173-D26713424427}" presName="childNode" presStyleLbl="revTx" presStyleIdx="0" presStyleCnt="0">
        <dgm:presLayoutVars>
          <dgm:bulletEnabled val="1"/>
        </dgm:presLayoutVars>
      </dgm:prSet>
      <dgm:spPr/>
    </dgm:pt>
    <dgm:pt modelId="{EE7BCB08-B956-42A2-98F5-7C331C211CC1}" type="pres">
      <dgm:prSet presAssocID="{A3956697-9E9D-4F68-8043-B1037072D302}" presName="Name25" presStyleLbl="parChTrans1D1" presStyleIdx="3" presStyleCnt="7"/>
      <dgm:spPr/>
    </dgm:pt>
    <dgm:pt modelId="{D33BE4AC-75ED-4ACB-82D0-84DDF1A0397B}" type="pres">
      <dgm:prSet presAssocID="{EE963316-8BA4-4FDE-AA22-41051760AF23}" presName="node" presStyleCnt="0"/>
      <dgm:spPr/>
    </dgm:pt>
    <dgm:pt modelId="{DA15CFE7-ABED-43D6-A492-B874E0C5D6FB}" type="pres">
      <dgm:prSet presAssocID="{EE963316-8BA4-4FDE-AA22-41051760AF23}" presName="parentNode" presStyleLbl="node1" presStyleIdx="4" presStyleCnt="8" custScaleX="267007" custScaleY="278108" custLinFactX="-101119" custLinFactY="-100000" custLinFactNeighborX="-200000" custLinFactNeighborY="-189305">
        <dgm:presLayoutVars>
          <dgm:chMax val="1"/>
          <dgm:bulletEnabled val="1"/>
        </dgm:presLayoutVars>
      </dgm:prSet>
      <dgm:spPr/>
    </dgm:pt>
    <dgm:pt modelId="{93047B05-A4B1-40E0-A2E1-26C55485B49A}" type="pres">
      <dgm:prSet presAssocID="{EE963316-8BA4-4FDE-AA22-41051760AF23}" presName="childNode" presStyleLbl="revTx" presStyleIdx="0" presStyleCnt="0">
        <dgm:presLayoutVars>
          <dgm:bulletEnabled val="1"/>
        </dgm:presLayoutVars>
      </dgm:prSet>
      <dgm:spPr/>
    </dgm:pt>
    <dgm:pt modelId="{7F55E4A8-4726-4EEB-BEC5-49A60921EE55}" type="pres">
      <dgm:prSet presAssocID="{5D18220B-0DA0-4041-8C38-EF826BB11E08}" presName="Name25" presStyleLbl="parChTrans1D1" presStyleIdx="4" presStyleCnt="7"/>
      <dgm:spPr/>
    </dgm:pt>
    <dgm:pt modelId="{C6844AAD-62E0-47B4-AC8E-02A36CAFE1CB}" type="pres">
      <dgm:prSet presAssocID="{65344BFE-CF47-4DE1-A5DE-AE2516925C79}" presName="node" presStyleCnt="0"/>
      <dgm:spPr/>
    </dgm:pt>
    <dgm:pt modelId="{BB12B8BC-5B06-47BC-B412-B78472D133A5}" type="pres">
      <dgm:prSet presAssocID="{65344BFE-CF47-4DE1-A5DE-AE2516925C79}" presName="parentNode" presStyleLbl="node1" presStyleIdx="5" presStyleCnt="8" custScaleX="276476" custScaleY="273122" custLinFactY="-100000" custLinFactNeighborX="-56717" custLinFactNeighborY="-118508">
        <dgm:presLayoutVars>
          <dgm:chMax val="1"/>
          <dgm:bulletEnabled val="1"/>
        </dgm:presLayoutVars>
      </dgm:prSet>
      <dgm:spPr/>
    </dgm:pt>
    <dgm:pt modelId="{EED4170D-30D0-4E9A-9124-95A8F0611045}" type="pres">
      <dgm:prSet presAssocID="{65344BFE-CF47-4DE1-A5DE-AE2516925C79}" presName="childNode" presStyleLbl="revTx" presStyleIdx="0" presStyleCnt="0">
        <dgm:presLayoutVars>
          <dgm:bulletEnabled val="1"/>
        </dgm:presLayoutVars>
      </dgm:prSet>
      <dgm:spPr/>
    </dgm:pt>
    <dgm:pt modelId="{6CA4506C-E8DF-46D2-B40F-1FE72510EAA3}" type="pres">
      <dgm:prSet presAssocID="{722DBD12-8415-4D09-A185-85FC1DD89988}" presName="Name25" presStyleLbl="parChTrans1D1" presStyleIdx="5" presStyleCnt="7"/>
      <dgm:spPr/>
    </dgm:pt>
    <dgm:pt modelId="{8A7CFEDA-AA0E-4CFA-83F3-F7F3761D21ED}" type="pres">
      <dgm:prSet presAssocID="{2AB675E9-A17E-421B-BE14-AC01727D3B0D}" presName="node" presStyleCnt="0"/>
      <dgm:spPr/>
    </dgm:pt>
    <dgm:pt modelId="{8DF93C78-5FBA-4D69-8BCB-CD6BD7C4A4A7}" type="pres">
      <dgm:prSet presAssocID="{2AB675E9-A17E-421B-BE14-AC01727D3B0D}" presName="parentNode" presStyleLbl="node1" presStyleIdx="6" presStyleCnt="8" custScaleX="267007" custScaleY="278108" custLinFactNeighborX="-59324" custLinFactNeighborY="-60884">
        <dgm:presLayoutVars>
          <dgm:chMax val="1"/>
          <dgm:bulletEnabled val="1"/>
        </dgm:presLayoutVars>
      </dgm:prSet>
      <dgm:spPr/>
    </dgm:pt>
    <dgm:pt modelId="{C970D704-6AE5-4DDC-8473-C340D395310C}" type="pres">
      <dgm:prSet presAssocID="{2AB675E9-A17E-421B-BE14-AC01727D3B0D}" presName="childNode" presStyleLbl="revTx" presStyleIdx="0" presStyleCnt="0">
        <dgm:presLayoutVars>
          <dgm:bulletEnabled val="1"/>
        </dgm:presLayoutVars>
      </dgm:prSet>
      <dgm:spPr/>
    </dgm:pt>
    <dgm:pt modelId="{2701A75A-1CD1-4161-AA9E-A121D41215B4}" type="pres">
      <dgm:prSet presAssocID="{D7162B1F-D0B5-41C1-AD6D-078D323FAC76}" presName="Name25" presStyleLbl="parChTrans1D1" presStyleIdx="6" presStyleCnt="7"/>
      <dgm:spPr/>
    </dgm:pt>
    <dgm:pt modelId="{0837FCFD-5E2B-469C-8C26-95FE121BE87A}" type="pres">
      <dgm:prSet presAssocID="{8ED34109-EE5A-47B7-B788-6828FC5639DB}" presName="node" presStyleCnt="0"/>
      <dgm:spPr/>
    </dgm:pt>
    <dgm:pt modelId="{681D3C36-73EF-4697-B356-B1B49D63460C}" type="pres">
      <dgm:prSet presAssocID="{8ED34109-EE5A-47B7-B788-6828FC5639DB}" presName="parentNode" presStyleLbl="node1" presStyleIdx="7" presStyleCnt="8" custScaleX="277059" custScaleY="265278" custLinFactX="-100000" custLinFactNeighborX="-162834" custLinFactNeighborY="-61125">
        <dgm:presLayoutVars>
          <dgm:chMax val="1"/>
          <dgm:bulletEnabled val="1"/>
        </dgm:presLayoutVars>
      </dgm:prSet>
      <dgm:spPr/>
    </dgm:pt>
    <dgm:pt modelId="{2CB6A9A7-123F-4394-9A5D-8B5891097C5D}" type="pres">
      <dgm:prSet presAssocID="{8ED34109-EE5A-47B7-B788-6828FC5639DB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CA1F091C-4456-4D5F-80D3-EB876B0F6F13}" srcId="{E73BD0F8-B168-4C42-BF16-B1D695410085}" destId="{62CB5BD3-6FD8-4353-AA2C-0B073CED841C}" srcOrd="0" destOrd="0" parTransId="{9B55CF11-65D3-4C4B-9B4B-A5130E94EF4A}" sibTransId="{05645CC2-DE72-49EF-B692-8ECED934AF15}"/>
    <dgm:cxn modelId="{1FB6D728-328E-4927-9A3C-0707F7E8854C}" srcId="{E73BD0F8-B168-4C42-BF16-B1D695410085}" destId="{8ED34109-EE5A-47B7-B788-6828FC5639DB}" srcOrd="6" destOrd="0" parTransId="{D7162B1F-D0B5-41C1-AD6D-078D323FAC76}" sibTransId="{CEC4FF5C-7F6A-4F70-83BF-C3C341FBDFA5}"/>
    <dgm:cxn modelId="{EA1D4E2E-39DD-4EE4-893C-DA0DDE6A6F67}" type="presOf" srcId="{5D18220B-0DA0-4041-8C38-EF826BB11E08}" destId="{7F55E4A8-4726-4EEB-BEC5-49A60921EE55}" srcOrd="0" destOrd="0" presId="urn:microsoft.com/office/officeart/2005/8/layout/radial2"/>
    <dgm:cxn modelId="{F8A51831-5568-4729-BC89-353DC5AC5595}" type="presOf" srcId="{722DBD12-8415-4D09-A185-85FC1DD89988}" destId="{6CA4506C-E8DF-46D2-B40F-1FE72510EAA3}" srcOrd="0" destOrd="0" presId="urn:microsoft.com/office/officeart/2005/8/layout/radial2"/>
    <dgm:cxn modelId="{CC9F1635-813F-4FCC-8C92-676E971A98C0}" type="presOf" srcId="{9B55CF11-65D3-4C4B-9B4B-A5130E94EF4A}" destId="{39DB2D77-76BE-480F-9E26-182B9B893A6D}" srcOrd="0" destOrd="0" presId="urn:microsoft.com/office/officeart/2005/8/layout/radial2"/>
    <dgm:cxn modelId="{DEFE5F39-F253-465F-8AA0-D03CC61879AD}" type="presOf" srcId="{A3956697-9E9D-4F68-8043-B1037072D302}" destId="{EE7BCB08-B956-42A2-98F5-7C331C211CC1}" srcOrd="0" destOrd="0" presId="urn:microsoft.com/office/officeart/2005/8/layout/radial2"/>
    <dgm:cxn modelId="{521BD93C-D545-4FE4-8867-988AFAF27278}" type="presOf" srcId="{65344BFE-CF47-4DE1-A5DE-AE2516925C79}" destId="{BB12B8BC-5B06-47BC-B412-B78472D133A5}" srcOrd="0" destOrd="0" presId="urn:microsoft.com/office/officeart/2005/8/layout/radial2"/>
    <dgm:cxn modelId="{33CA9343-85A7-4645-A49E-3AA3CC3F13B2}" type="presOf" srcId="{62CB5BD3-6FD8-4353-AA2C-0B073CED841C}" destId="{1569F2AE-1645-4D80-91CC-F5F5A97FB683}" srcOrd="0" destOrd="0" presId="urn:microsoft.com/office/officeart/2005/8/layout/radial2"/>
    <dgm:cxn modelId="{901A954F-2985-4C1F-8AB7-2CF67E974045}" type="presOf" srcId="{5941A8EF-1F53-4114-9A6B-B9B62804743A}" destId="{A74F9948-C864-4D2B-B43B-42C7CBB6E8B9}" srcOrd="0" destOrd="0" presId="urn:microsoft.com/office/officeart/2005/8/layout/radial2"/>
    <dgm:cxn modelId="{BC09F359-3324-4ACC-A4D5-2B1320641221}" type="presOf" srcId="{B4354A50-368D-4011-A173-D26713424427}" destId="{18E3F351-B639-4067-BEAE-793AE5FE0674}" srcOrd="0" destOrd="0" presId="urn:microsoft.com/office/officeart/2005/8/layout/radial2"/>
    <dgm:cxn modelId="{B3045669-13E3-4E90-816B-7C101F110CCA}" type="presOf" srcId="{D7162B1F-D0B5-41C1-AD6D-078D323FAC76}" destId="{2701A75A-1CD1-4161-AA9E-A121D41215B4}" srcOrd="0" destOrd="0" presId="urn:microsoft.com/office/officeart/2005/8/layout/radial2"/>
    <dgm:cxn modelId="{14930376-025C-4AE9-9019-CE33ABE6C56A}" type="presOf" srcId="{EE963316-8BA4-4FDE-AA22-41051760AF23}" destId="{DA15CFE7-ABED-43D6-A492-B874E0C5D6FB}" srcOrd="0" destOrd="0" presId="urn:microsoft.com/office/officeart/2005/8/layout/radial2"/>
    <dgm:cxn modelId="{4E2C3380-736C-4DB7-8DE1-482EF6E7839B}" srcId="{E73BD0F8-B168-4C42-BF16-B1D695410085}" destId="{2AB675E9-A17E-421B-BE14-AC01727D3B0D}" srcOrd="5" destOrd="0" parTransId="{722DBD12-8415-4D09-A185-85FC1DD89988}" sibTransId="{52A7D1B1-66BF-4B57-B128-D96EE9BAACA9}"/>
    <dgm:cxn modelId="{A8907D84-1DCB-4DA0-B3F3-B46F369AB5F7}" srcId="{E73BD0F8-B168-4C42-BF16-B1D695410085}" destId="{B4354A50-368D-4011-A173-D26713424427}" srcOrd="2" destOrd="0" parTransId="{67FFE2C2-20A0-4E7B-809D-0F370578F052}" sibTransId="{62AC661A-F586-4113-B703-D58E7F24F51B}"/>
    <dgm:cxn modelId="{A564BAA2-0AA2-4D3D-988C-AE94CD6D5306}" srcId="{E73BD0F8-B168-4C42-BF16-B1D695410085}" destId="{EE963316-8BA4-4FDE-AA22-41051760AF23}" srcOrd="3" destOrd="0" parTransId="{A3956697-9E9D-4F68-8043-B1037072D302}" sibTransId="{9FE11539-BF71-4C90-BFFB-1BBFD3E4BD00}"/>
    <dgm:cxn modelId="{E12F4ABB-4899-454B-9637-FCE44DC6FF70}" srcId="{E73BD0F8-B168-4C42-BF16-B1D695410085}" destId="{65344BFE-CF47-4DE1-A5DE-AE2516925C79}" srcOrd="4" destOrd="0" parTransId="{5D18220B-0DA0-4041-8C38-EF826BB11E08}" sibTransId="{B6891AB2-CDD3-43F4-A133-104B26E2B5D4}"/>
    <dgm:cxn modelId="{06D830BD-23E1-461A-93CA-661EA3DAE3BF}" type="presOf" srcId="{E73BD0F8-B168-4C42-BF16-B1D695410085}" destId="{A8A5DF9B-EA6F-484F-A158-796E05401CBA}" srcOrd="0" destOrd="0" presId="urn:microsoft.com/office/officeart/2005/8/layout/radial2"/>
    <dgm:cxn modelId="{18D92CD0-9547-4540-BD73-3C97F93F8498}" type="presOf" srcId="{2AB675E9-A17E-421B-BE14-AC01727D3B0D}" destId="{8DF93C78-5FBA-4D69-8BCB-CD6BD7C4A4A7}" srcOrd="0" destOrd="0" presId="urn:microsoft.com/office/officeart/2005/8/layout/radial2"/>
    <dgm:cxn modelId="{498CF8E2-7E00-469A-AAE3-5F8CAE7C0E08}" type="presOf" srcId="{67FFE2C2-20A0-4E7B-809D-0F370578F052}" destId="{200D1811-0592-4B69-81A1-20D05307551F}" srcOrd="0" destOrd="0" presId="urn:microsoft.com/office/officeart/2005/8/layout/radial2"/>
    <dgm:cxn modelId="{9BFD7EE8-85D9-4B14-B923-94D127972ABE}" srcId="{E73BD0F8-B168-4C42-BF16-B1D695410085}" destId="{69F6E812-922F-4510-AA08-C614A86B7151}" srcOrd="1" destOrd="0" parTransId="{5941A8EF-1F53-4114-9A6B-B9B62804743A}" sibTransId="{975E6B94-F9C9-422A-8A05-E2150CBAAD58}"/>
    <dgm:cxn modelId="{9101C8F0-F984-4297-8C25-AE528171F68B}" type="presOf" srcId="{8ED34109-EE5A-47B7-B788-6828FC5639DB}" destId="{681D3C36-73EF-4697-B356-B1B49D63460C}" srcOrd="0" destOrd="0" presId="urn:microsoft.com/office/officeart/2005/8/layout/radial2"/>
    <dgm:cxn modelId="{602D0AFF-6F02-4C6C-9866-E7D1AC14756D}" type="presOf" srcId="{69F6E812-922F-4510-AA08-C614A86B7151}" destId="{38EDB502-9E4F-44C6-8DB9-576AE573D709}" srcOrd="0" destOrd="0" presId="urn:microsoft.com/office/officeart/2005/8/layout/radial2"/>
    <dgm:cxn modelId="{2D9360FE-3D55-4A5F-BBE4-F7FB5A218633}" type="presParOf" srcId="{A8A5DF9B-EA6F-484F-A158-796E05401CBA}" destId="{DB5DEF0C-3F8F-434C-8394-E6014A3817B2}" srcOrd="0" destOrd="0" presId="urn:microsoft.com/office/officeart/2005/8/layout/radial2"/>
    <dgm:cxn modelId="{AB508EB3-4B04-4DCF-BFAD-A242CC43D4CB}" type="presParOf" srcId="{DB5DEF0C-3F8F-434C-8394-E6014A3817B2}" destId="{6737D7DB-1DD8-4D0E-BCEF-4897D60F522F}" srcOrd="0" destOrd="0" presId="urn:microsoft.com/office/officeart/2005/8/layout/radial2"/>
    <dgm:cxn modelId="{FE4E2906-D3C2-42CF-901A-79EF4D8AF4DB}" type="presParOf" srcId="{6737D7DB-1DD8-4D0E-BCEF-4897D60F522F}" destId="{1B4E7713-3750-48AB-BCC0-022174DA8601}" srcOrd="0" destOrd="0" presId="urn:microsoft.com/office/officeart/2005/8/layout/radial2"/>
    <dgm:cxn modelId="{C9BCD1EF-450E-47CA-A854-19D0AA18C21A}" type="presParOf" srcId="{6737D7DB-1DD8-4D0E-BCEF-4897D60F522F}" destId="{52F425C3-D510-4B33-8DB2-612D61197E0C}" srcOrd="1" destOrd="0" presId="urn:microsoft.com/office/officeart/2005/8/layout/radial2"/>
    <dgm:cxn modelId="{E0E7CE9A-B6AE-49E7-BEE1-1F52E3AF6E48}" type="presParOf" srcId="{DB5DEF0C-3F8F-434C-8394-E6014A3817B2}" destId="{39DB2D77-76BE-480F-9E26-182B9B893A6D}" srcOrd="1" destOrd="0" presId="urn:microsoft.com/office/officeart/2005/8/layout/radial2"/>
    <dgm:cxn modelId="{AD99CD77-2809-4BDD-9CAD-1B9EC74AB05A}" type="presParOf" srcId="{DB5DEF0C-3F8F-434C-8394-E6014A3817B2}" destId="{18D42CA0-F040-4FF8-9D8C-D91B83062B3C}" srcOrd="2" destOrd="0" presId="urn:microsoft.com/office/officeart/2005/8/layout/radial2"/>
    <dgm:cxn modelId="{0EDD8FDE-F040-4953-BA20-58A60079929F}" type="presParOf" srcId="{18D42CA0-F040-4FF8-9D8C-D91B83062B3C}" destId="{1569F2AE-1645-4D80-91CC-F5F5A97FB683}" srcOrd="0" destOrd="0" presId="urn:microsoft.com/office/officeart/2005/8/layout/radial2"/>
    <dgm:cxn modelId="{09D9F2F8-32EE-43C6-BAE2-E833761179CC}" type="presParOf" srcId="{18D42CA0-F040-4FF8-9D8C-D91B83062B3C}" destId="{29424B08-C960-4C61-BFB9-487ACF721F35}" srcOrd="1" destOrd="0" presId="urn:microsoft.com/office/officeart/2005/8/layout/radial2"/>
    <dgm:cxn modelId="{F5DA9167-DD8F-4A25-BC76-70D5FB639925}" type="presParOf" srcId="{DB5DEF0C-3F8F-434C-8394-E6014A3817B2}" destId="{A74F9948-C864-4D2B-B43B-42C7CBB6E8B9}" srcOrd="3" destOrd="0" presId="urn:microsoft.com/office/officeart/2005/8/layout/radial2"/>
    <dgm:cxn modelId="{F963C02F-1EC1-464C-A437-DD877BBE5E9D}" type="presParOf" srcId="{DB5DEF0C-3F8F-434C-8394-E6014A3817B2}" destId="{943EC47A-1439-45D1-AFB1-C92D859C1DA8}" srcOrd="4" destOrd="0" presId="urn:microsoft.com/office/officeart/2005/8/layout/radial2"/>
    <dgm:cxn modelId="{561BC781-5B35-418F-A23C-6394473B0C8F}" type="presParOf" srcId="{943EC47A-1439-45D1-AFB1-C92D859C1DA8}" destId="{38EDB502-9E4F-44C6-8DB9-576AE573D709}" srcOrd="0" destOrd="0" presId="urn:microsoft.com/office/officeart/2005/8/layout/radial2"/>
    <dgm:cxn modelId="{BCBFF718-0306-486F-B5AF-266FE666C659}" type="presParOf" srcId="{943EC47A-1439-45D1-AFB1-C92D859C1DA8}" destId="{721302DA-973A-4F44-AD26-BEE7870CCFEA}" srcOrd="1" destOrd="0" presId="urn:microsoft.com/office/officeart/2005/8/layout/radial2"/>
    <dgm:cxn modelId="{E469029A-2595-4823-9161-DE2AF6214C40}" type="presParOf" srcId="{DB5DEF0C-3F8F-434C-8394-E6014A3817B2}" destId="{200D1811-0592-4B69-81A1-20D05307551F}" srcOrd="5" destOrd="0" presId="urn:microsoft.com/office/officeart/2005/8/layout/radial2"/>
    <dgm:cxn modelId="{82850F05-5A98-423C-9176-B9AF1086B22A}" type="presParOf" srcId="{DB5DEF0C-3F8F-434C-8394-E6014A3817B2}" destId="{ED97FDB0-0AD1-4999-B733-F32B77E8A1A6}" srcOrd="6" destOrd="0" presId="urn:microsoft.com/office/officeart/2005/8/layout/radial2"/>
    <dgm:cxn modelId="{AC17BAE4-7A21-47C1-8EA5-9F6E41452E6A}" type="presParOf" srcId="{ED97FDB0-0AD1-4999-B733-F32B77E8A1A6}" destId="{18E3F351-B639-4067-BEAE-793AE5FE0674}" srcOrd="0" destOrd="0" presId="urn:microsoft.com/office/officeart/2005/8/layout/radial2"/>
    <dgm:cxn modelId="{382A58D9-A187-4B58-86F1-43A51289A385}" type="presParOf" srcId="{ED97FDB0-0AD1-4999-B733-F32B77E8A1A6}" destId="{8F245BFC-13B1-4774-8FDC-5A0398472270}" srcOrd="1" destOrd="0" presId="urn:microsoft.com/office/officeart/2005/8/layout/radial2"/>
    <dgm:cxn modelId="{1E168D4D-56E3-45B8-8405-5A0208823220}" type="presParOf" srcId="{DB5DEF0C-3F8F-434C-8394-E6014A3817B2}" destId="{EE7BCB08-B956-42A2-98F5-7C331C211CC1}" srcOrd="7" destOrd="0" presId="urn:microsoft.com/office/officeart/2005/8/layout/radial2"/>
    <dgm:cxn modelId="{38DEE72E-9440-403E-A473-3431F239AF5E}" type="presParOf" srcId="{DB5DEF0C-3F8F-434C-8394-E6014A3817B2}" destId="{D33BE4AC-75ED-4ACB-82D0-84DDF1A0397B}" srcOrd="8" destOrd="0" presId="urn:microsoft.com/office/officeart/2005/8/layout/radial2"/>
    <dgm:cxn modelId="{D4A20F0F-E568-447E-BF43-4A1402715C45}" type="presParOf" srcId="{D33BE4AC-75ED-4ACB-82D0-84DDF1A0397B}" destId="{DA15CFE7-ABED-43D6-A492-B874E0C5D6FB}" srcOrd="0" destOrd="0" presId="urn:microsoft.com/office/officeart/2005/8/layout/radial2"/>
    <dgm:cxn modelId="{B1986BC4-8BC2-4D73-B908-4C771CAB65D2}" type="presParOf" srcId="{D33BE4AC-75ED-4ACB-82D0-84DDF1A0397B}" destId="{93047B05-A4B1-40E0-A2E1-26C55485B49A}" srcOrd="1" destOrd="0" presId="urn:microsoft.com/office/officeart/2005/8/layout/radial2"/>
    <dgm:cxn modelId="{D5D474D0-CFFE-4CA5-8E36-1F945C144649}" type="presParOf" srcId="{DB5DEF0C-3F8F-434C-8394-E6014A3817B2}" destId="{7F55E4A8-4726-4EEB-BEC5-49A60921EE55}" srcOrd="9" destOrd="0" presId="urn:microsoft.com/office/officeart/2005/8/layout/radial2"/>
    <dgm:cxn modelId="{0B1081BC-8626-4C17-B00F-B82B26C85C92}" type="presParOf" srcId="{DB5DEF0C-3F8F-434C-8394-E6014A3817B2}" destId="{C6844AAD-62E0-47B4-AC8E-02A36CAFE1CB}" srcOrd="10" destOrd="0" presId="urn:microsoft.com/office/officeart/2005/8/layout/radial2"/>
    <dgm:cxn modelId="{81F6143B-6DB1-489A-87EA-E3439B438531}" type="presParOf" srcId="{C6844AAD-62E0-47B4-AC8E-02A36CAFE1CB}" destId="{BB12B8BC-5B06-47BC-B412-B78472D133A5}" srcOrd="0" destOrd="0" presId="urn:microsoft.com/office/officeart/2005/8/layout/radial2"/>
    <dgm:cxn modelId="{01232ABA-EFF1-4D25-A3DD-A2C8D9815503}" type="presParOf" srcId="{C6844AAD-62E0-47B4-AC8E-02A36CAFE1CB}" destId="{EED4170D-30D0-4E9A-9124-95A8F0611045}" srcOrd="1" destOrd="0" presId="urn:microsoft.com/office/officeart/2005/8/layout/radial2"/>
    <dgm:cxn modelId="{02800F8A-335B-4BA6-9312-998CB4A82309}" type="presParOf" srcId="{DB5DEF0C-3F8F-434C-8394-E6014A3817B2}" destId="{6CA4506C-E8DF-46D2-B40F-1FE72510EAA3}" srcOrd="11" destOrd="0" presId="urn:microsoft.com/office/officeart/2005/8/layout/radial2"/>
    <dgm:cxn modelId="{AE9E68AF-B126-4007-AAD4-D846AC112A79}" type="presParOf" srcId="{DB5DEF0C-3F8F-434C-8394-E6014A3817B2}" destId="{8A7CFEDA-AA0E-4CFA-83F3-F7F3761D21ED}" srcOrd="12" destOrd="0" presId="urn:microsoft.com/office/officeart/2005/8/layout/radial2"/>
    <dgm:cxn modelId="{F7739E0F-710F-4BB5-8651-5C4A59B568CC}" type="presParOf" srcId="{8A7CFEDA-AA0E-4CFA-83F3-F7F3761D21ED}" destId="{8DF93C78-5FBA-4D69-8BCB-CD6BD7C4A4A7}" srcOrd="0" destOrd="0" presId="urn:microsoft.com/office/officeart/2005/8/layout/radial2"/>
    <dgm:cxn modelId="{021F2C20-D6E6-4B0F-A945-9E83C768AC32}" type="presParOf" srcId="{8A7CFEDA-AA0E-4CFA-83F3-F7F3761D21ED}" destId="{C970D704-6AE5-4DDC-8473-C340D395310C}" srcOrd="1" destOrd="0" presId="urn:microsoft.com/office/officeart/2005/8/layout/radial2"/>
    <dgm:cxn modelId="{7385FF0E-41EB-4730-BBDC-C491D33E11BB}" type="presParOf" srcId="{DB5DEF0C-3F8F-434C-8394-E6014A3817B2}" destId="{2701A75A-1CD1-4161-AA9E-A121D41215B4}" srcOrd="13" destOrd="0" presId="urn:microsoft.com/office/officeart/2005/8/layout/radial2"/>
    <dgm:cxn modelId="{0156AB92-3732-4642-A6D5-4B6EBA0FE71B}" type="presParOf" srcId="{DB5DEF0C-3F8F-434C-8394-E6014A3817B2}" destId="{0837FCFD-5E2B-469C-8C26-95FE121BE87A}" srcOrd="14" destOrd="0" presId="urn:microsoft.com/office/officeart/2005/8/layout/radial2"/>
    <dgm:cxn modelId="{DE3ADFFE-DB0E-435E-B752-3AC694477CC0}" type="presParOf" srcId="{0837FCFD-5E2B-469C-8C26-95FE121BE87A}" destId="{681D3C36-73EF-4697-B356-B1B49D63460C}" srcOrd="0" destOrd="0" presId="urn:microsoft.com/office/officeart/2005/8/layout/radial2"/>
    <dgm:cxn modelId="{5CF6E18A-C456-40BC-B16A-F58F1EE70243}" type="presParOf" srcId="{0837FCFD-5E2B-469C-8C26-95FE121BE87A}" destId="{2CB6A9A7-123F-4394-9A5D-8B5891097C5D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01A75A-1CD1-4161-AA9E-A121D41215B4}">
      <dsp:nvSpPr>
        <dsp:cNvPr id="0" name=""/>
        <dsp:cNvSpPr/>
      </dsp:nvSpPr>
      <dsp:spPr>
        <a:xfrm rot="5262243">
          <a:off x="5912139" y="7620514"/>
          <a:ext cx="1737597" cy="18105"/>
        </a:xfrm>
        <a:custGeom>
          <a:avLst/>
          <a:gdLst/>
          <a:ahLst/>
          <a:cxnLst/>
          <a:rect l="0" t="0" r="0" b="0"/>
          <a:pathLst>
            <a:path>
              <a:moveTo>
                <a:pt x="0" y="9052"/>
              </a:moveTo>
              <a:lnTo>
                <a:pt x="1737597" y="905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A4506C-E8DF-46D2-B40F-1FE72510EAA3}">
      <dsp:nvSpPr>
        <dsp:cNvPr id="0" name=""/>
        <dsp:cNvSpPr/>
      </dsp:nvSpPr>
      <dsp:spPr>
        <a:xfrm rot="2057393">
          <a:off x="7327529" y="7119292"/>
          <a:ext cx="2212601" cy="18105"/>
        </a:xfrm>
        <a:custGeom>
          <a:avLst/>
          <a:gdLst/>
          <a:ahLst/>
          <a:cxnLst/>
          <a:rect l="0" t="0" r="0" b="0"/>
          <a:pathLst>
            <a:path>
              <a:moveTo>
                <a:pt x="0" y="9052"/>
              </a:moveTo>
              <a:lnTo>
                <a:pt x="2212601" y="905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55E4A8-4726-4EEB-BEC5-49A60921EE55}">
      <dsp:nvSpPr>
        <dsp:cNvPr id="0" name=""/>
        <dsp:cNvSpPr/>
      </dsp:nvSpPr>
      <dsp:spPr>
        <a:xfrm rot="20839860">
          <a:off x="7491536" y="5510579"/>
          <a:ext cx="2322343" cy="18105"/>
        </a:xfrm>
        <a:custGeom>
          <a:avLst/>
          <a:gdLst/>
          <a:ahLst/>
          <a:cxnLst/>
          <a:rect l="0" t="0" r="0" b="0"/>
          <a:pathLst>
            <a:path>
              <a:moveTo>
                <a:pt x="0" y="9052"/>
              </a:moveTo>
              <a:lnTo>
                <a:pt x="2322343" y="905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7BCB08-B956-42A2-98F5-7C331C211CC1}">
      <dsp:nvSpPr>
        <dsp:cNvPr id="0" name=""/>
        <dsp:cNvSpPr/>
      </dsp:nvSpPr>
      <dsp:spPr>
        <a:xfrm rot="17672451">
          <a:off x="6613848" y="4412317"/>
          <a:ext cx="1600850" cy="18105"/>
        </a:xfrm>
        <a:custGeom>
          <a:avLst/>
          <a:gdLst/>
          <a:ahLst/>
          <a:cxnLst/>
          <a:rect l="0" t="0" r="0" b="0"/>
          <a:pathLst>
            <a:path>
              <a:moveTo>
                <a:pt x="0" y="9052"/>
              </a:moveTo>
              <a:lnTo>
                <a:pt x="1600850" y="905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0D1811-0592-4B69-81A1-20D05307551F}">
      <dsp:nvSpPr>
        <dsp:cNvPr id="0" name=""/>
        <dsp:cNvSpPr/>
      </dsp:nvSpPr>
      <dsp:spPr>
        <a:xfrm rot="14247788">
          <a:off x="4738393" y="4339392"/>
          <a:ext cx="1900357" cy="18105"/>
        </a:xfrm>
        <a:custGeom>
          <a:avLst/>
          <a:gdLst/>
          <a:ahLst/>
          <a:cxnLst/>
          <a:rect l="0" t="0" r="0" b="0"/>
          <a:pathLst>
            <a:path>
              <a:moveTo>
                <a:pt x="0" y="9052"/>
              </a:moveTo>
              <a:lnTo>
                <a:pt x="1900357" y="905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4F9948-C864-4D2B-B43B-42C7CBB6E8B9}">
      <dsp:nvSpPr>
        <dsp:cNvPr id="0" name=""/>
        <dsp:cNvSpPr/>
      </dsp:nvSpPr>
      <dsp:spPr>
        <a:xfrm rot="11372430">
          <a:off x="3649946" y="5622544"/>
          <a:ext cx="2273607" cy="18105"/>
        </a:xfrm>
        <a:custGeom>
          <a:avLst/>
          <a:gdLst/>
          <a:ahLst/>
          <a:cxnLst/>
          <a:rect l="0" t="0" r="0" b="0"/>
          <a:pathLst>
            <a:path>
              <a:moveTo>
                <a:pt x="0" y="9052"/>
              </a:moveTo>
              <a:lnTo>
                <a:pt x="2273607" y="905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DB2D77-76BE-480F-9E26-182B9B893A6D}">
      <dsp:nvSpPr>
        <dsp:cNvPr id="0" name=""/>
        <dsp:cNvSpPr/>
      </dsp:nvSpPr>
      <dsp:spPr>
        <a:xfrm rot="8381226">
          <a:off x="3974925" y="7339767"/>
          <a:ext cx="2193339" cy="18105"/>
        </a:xfrm>
        <a:custGeom>
          <a:avLst/>
          <a:gdLst/>
          <a:ahLst/>
          <a:cxnLst/>
          <a:rect l="0" t="0" r="0" b="0"/>
          <a:pathLst>
            <a:path>
              <a:moveTo>
                <a:pt x="0" y="9052"/>
              </a:moveTo>
              <a:lnTo>
                <a:pt x="2193339" y="905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F425C3-D510-4B33-8DB2-612D61197E0C}">
      <dsp:nvSpPr>
        <dsp:cNvPr id="0" name=""/>
        <dsp:cNvSpPr/>
      </dsp:nvSpPr>
      <dsp:spPr>
        <a:xfrm>
          <a:off x="5562406" y="4804065"/>
          <a:ext cx="2302824" cy="2302824"/>
        </a:xfrm>
        <a:prstGeom prst="ellipse">
          <a:avLst/>
        </a:prstGeom>
        <a:solidFill>
          <a:schemeClr val="bg1"/>
        </a:solidFill>
        <a:ln>
          <a:solidFill>
            <a:schemeClr val="accent2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569F2AE-1645-4D80-91CC-F5F5A97FB683}">
      <dsp:nvSpPr>
        <dsp:cNvPr id="0" name=""/>
        <dsp:cNvSpPr/>
      </dsp:nvSpPr>
      <dsp:spPr>
        <a:xfrm>
          <a:off x="960578" y="7350447"/>
          <a:ext cx="3689220" cy="3842602"/>
        </a:xfrm>
        <a:prstGeom prst="ellipse">
          <a:avLst/>
        </a:prstGeom>
        <a:solidFill>
          <a:schemeClr val="accent1">
            <a:lumMod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chemeClr val="bg1"/>
              </a:solidFill>
              <a:latin typeface="+mn-lt"/>
            </a:rPr>
            <a:t>Problem Solving </a:t>
          </a:r>
        </a:p>
      </dsp:txBody>
      <dsp:txXfrm>
        <a:off x="1500852" y="7913183"/>
        <a:ext cx="2608672" cy="2717130"/>
      </dsp:txXfrm>
    </dsp:sp>
    <dsp:sp modelId="{38EDB502-9E4F-44C6-8DB9-576AE573D709}">
      <dsp:nvSpPr>
        <dsp:cNvPr id="0" name=""/>
        <dsp:cNvSpPr/>
      </dsp:nvSpPr>
      <dsp:spPr>
        <a:xfrm>
          <a:off x="4" y="3215812"/>
          <a:ext cx="3689220" cy="3842602"/>
        </a:xfrm>
        <a:prstGeom prst="ellipse">
          <a:avLst/>
        </a:prstGeom>
        <a:solidFill>
          <a:schemeClr val="accent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chemeClr val="bg1"/>
              </a:solidFill>
              <a:latin typeface="+mn-lt"/>
            </a:rPr>
            <a:t>Teamwork</a:t>
          </a:r>
        </a:p>
      </dsp:txBody>
      <dsp:txXfrm>
        <a:off x="540278" y="3778548"/>
        <a:ext cx="2608672" cy="2717130"/>
      </dsp:txXfrm>
    </dsp:sp>
    <dsp:sp modelId="{18E3F351-B639-4067-BEAE-793AE5FE0674}">
      <dsp:nvSpPr>
        <dsp:cNvPr id="0" name=""/>
        <dsp:cNvSpPr/>
      </dsp:nvSpPr>
      <dsp:spPr>
        <a:xfrm>
          <a:off x="2192366" y="0"/>
          <a:ext cx="3895494" cy="3842602"/>
        </a:xfrm>
        <a:prstGeom prst="ellipse">
          <a:avLst/>
        </a:prstGeom>
        <a:solidFill>
          <a:schemeClr val="accent1">
            <a:lumMod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chemeClr val="bg1"/>
              </a:solidFill>
              <a:latin typeface="+mn-lt"/>
            </a:rPr>
            <a:t>Adaptability / Curiosity</a:t>
          </a:r>
        </a:p>
      </dsp:txBody>
      <dsp:txXfrm>
        <a:off x="2762848" y="562736"/>
        <a:ext cx="2754530" cy="2717130"/>
      </dsp:txXfrm>
    </dsp:sp>
    <dsp:sp modelId="{DA15CFE7-ABED-43D6-A492-B874E0C5D6FB}">
      <dsp:nvSpPr>
        <dsp:cNvPr id="0" name=""/>
        <dsp:cNvSpPr/>
      </dsp:nvSpPr>
      <dsp:spPr>
        <a:xfrm>
          <a:off x="6694331" y="36865"/>
          <a:ext cx="3689220" cy="3842602"/>
        </a:xfrm>
        <a:prstGeom prst="ellipse">
          <a:avLst/>
        </a:prstGeom>
        <a:solidFill>
          <a:schemeClr val="accent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chemeClr val="bg1"/>
              </a:solidFill>
              <a:latin typeface="+mn-lt"/>
            </a:rPr>
            <a:t>Creativity</a:t>
          </a:r>
        </a:p>
      </dsp:txBody>
      <dsp:txXfrm>
        <a:off x="7234605" y="599601"/>
        <a:ext cx="2608672" cy="2717130"/>
      </dsp:txXfrm>
    </dsp:sp>
    <dsp:sp modelId="{BB12B8BC-5B06-47BC-B412-B78472D133A5}">
      <dsp:nvSpPr>
        <dsp:cNvPr id="0" name=""/>
        <dsp:cNvSpPr/>
      </dsp:nvSpPr>
      <dsp:spPr>
        <a:xfrm>
          <a:off x="9738000" y="2959454"/>
          <a:ext cx="3820053" cy="3773711"/>
        </a:xfrm>
        <a:prstGeom prst="ellipse">
          <a:avLst/>
        </a:prstGeom>
        <a:solidFill>
          <a:schemeClr val="accent1">
            <a:lumMod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8415" tIns="18415" rIns="18415" bIns="18415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solidFill>
                <a:schemeClr val="bg1"/>
              </a:solidFill>
              <a:latin typeface="+mn-lt"/>
            </a:rPr>
            <a:t>Communication</a:t>
          </a:r>
        </a:p>
      </dsp:txBody>
      <dsp:txXfrm>
        <a:off x="10297434" y="3512101"/>
        <a:ext cx="2701185" cy="2668417"/>
      </dsp:txXfrm>
    </dsp:sp>
    <dsp:sp modelId="{8DF93C78-5FBA-4D69-8BCB-CD6BD7C4A4A7}">
      <dsp:nvSpPr>
        <dsp:cNvPr id="0" name=""/>
        <dsp:cNvSpPr/>
      </dsp:nvSpPr>
      <dsp:spPr>
        <a:xfrm>
          <a:off x="9046538" y="6882677"/>
          <a:ext cx="3689220" cy="3842602"/>
        </a:xfrm>
        <a:prstGeom prst="ellipse">
          <a:avLst/>
        </a:prstGeom>
        <a:solidFill>
          <a:schemeClr val="accent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chemeClr val="bg1"/>
              </a:solidFill>
              <a:latin typeface="+mn-lt"/>
            </a:rPr>
            <a:t>Critical Thinking</a:t>
          </a:r>
        </a:p>
      </dsp:txBody>
      <dsp:txXfrm>
        <a:off x="9586812" y="7445413"/>
        <a:ext cx="2608672" cy="2717130"/>
      </dsp:txXfrm>
    </dsp:sp>
    <dsp:sp modelId="{681D3C36-73EF-4697-B356-B1B49D63460C}">
      <dsp:nvSpPr>
        <dsp:cNvPr id="0" name=""/>
        <dsp:cNvSpPr/>
      </dsp:nvSpPr>
      <dsp:spPr>
        <a:xfrm>
          <a:off x="4975112" y="8496320"/>
          <a:ext cx="3828108" cy="3665331"/>
        </a:xfrm>
        <a:prstGeom prst="ellipse">
          <a:avLst/>
        </a:prstGeom>
        <a:solidFill>
          <a:schemeClr val="accent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>
              <a:solidFill>
                <a:schemeClr val="bg1"/>
              </a:solidFill>
              <a:latin typeface="+mn-lt"/>
            </a:rPr>
            <a:t>Collaborative</a:t>
          </a:r>
        </a:p>
      </dsp:txBody>
      <dsp:txXfrm>
        <a:off x="5535725" y="9033095"/>
        <a:ext cx="2706882" cy="25917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8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2438522" rtl="0" eaLnBrk="1" latinLnBrk="0" hangingPunct="1">
      <a:spcBef>
        <a:spcPts val="1600"/>
      </a:spcBef>
      <a:defRPr sz="2667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465690" indent="-452991" algn="l" defTabSz="2438522" rtl="0" eaLnBrk="1" latinLnBrk="0" hangingPunct="1">
      <a:spcBef>
        <a:spcPts val="1600"/>
      </a:spcBef>
      <a:buFont typeface="IBM Plex Sans"/>
      <a:buChar char="–"/>
      <a:tabLst/>
      <a:defRPr sz="2667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926638" indent="-463319" algn="l" defTabSz="2438522" rtl="0" eaLnBrk="1" latinLnBrk="0" hangingPunct="1">
      <a:spcBef>
        <a:spcPts val="1600"/>
      </a:spcBef>
      <a:buFont typeface="IBM Plex Sans Light" panose="020B0604020202020204" pitchFamily="34" charset="0"/>
      <a:buChar char="•"/>
      <a:tabLst/>
      <a:defRPr sz="2667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1682580" indent="-463319" algn="l" defTabSz="2438522" rtl="0" eaLnBrk="1" latinLnBrk="0" hangingPunct="1">
      <a:spcBef>
        <a:spcPts val="1600"/>
      </a:spcBef>
      <a:buFont typeface="IBM Plex Sans Light"/>
      <a:buChar char="–"/>
      <a:tabLst/>
      <a:defRPr sz="2667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465690" marR="0" indent="-452991" algn="l" defTabSz="2438522" rtl="0" eaLnBrk="1" fontAlgn="base" latinLnBrk="0" hangingPunct="1">
      <a:lnSpc>
        <a:spcPct val="100000"/>
      </a:lnSpc>
      <a:spcBef>
        <a:spcPts val="1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2667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6096305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but not before just a few quick announcements:</a:t>
            </a:r>
          </a:p>
          <a:p>
            <a:r>
              <a:rPr lang="en-US" dirty="0"/>
              <a:t>-while highly encouraged, 10KC platform is not a required element of experience, so if you cannot commit to 1 chat/week, please pause your matches so that IBMers and other Accelerate participants are not being ignored</a:t>
            </a:r>
          </a:p>
          <a:p>
            <a:r>
              <a:rPr lang="en-US" dirty="0"/>
              <a:t>-clarify that each week EITHER </a:t>
            </a:r>
            <a:r>
              <a:rPr lang="en-US" dirty="0" err="1"/>
              <a:t>IBMer</a:t>
            </a:r>
            <a:r>
              <a:rPr lang="en-US" dirty="0"/>
              <a:t> or another Accelerate participant </a:t>
            </a:r>
          </a:p>
          <a:p>
            <a:r>
              <a:rPr lang="en-US" dirty="0"/>
              <a:t>-continue to complete weekly learnings on Skills build: also highly encouraged to continue to upskill yourselves</a:t>
            </a:r>
          </a:p>
          <a:p>
            <a:r>
              <a:rPr lang="en-US" dirty="0"/>
              <a:t>-half of you have sent them in but half haven’t so look in your emails for form that was sent your wa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834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 we rename the slid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941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4978" y="2273300"/>
            <a:ext cx="6448044" cy="6121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75BB5B-BA1F-5147-80F6-7EBA006D31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22429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567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2001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56114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9909175" cy="28590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2" y="448056"/>
            <a:ext cx="11042073" cy="8574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 marL="585216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2pPr>
            <a:lvl3pPr marL="1097280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3pPr>
            <a:lvl4pPr marL="1755648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840745"/>
      </p:ext>
    </p:extLst>
  </p:cSld>
  <p:clrMapOvr>
    <a:masterClrMapping/>
  </p:clrMapOvr>
  <p:transition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5292" y="585216"/>
            <a:ext cx="11023003" cy="2145792"/>
          </a:xfrm>
        </p:spPr>
        <p:txBody>
          <a:bodyPr/>
          <a:lstStyle>
            <a:lvl1pPr>
              <a:defRPr sz="42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365807" y="3023616"/>
            <a:ext cx="11218101" cy="8965184"/>
          </a:xfrm>
        </p:spPr>
        <p:txBody>
          <a:bodyPr/>
          <a:lstStyle>
            <a:lvl1pPr>
              <a:lnSpc>
                <a:spcPct val="90000"/>
              </a:lnSpc>
              <a:defRPr sz="25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3986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5292" y="585216"/>
            <a:ext cx="11023003" cy="2145792"/>
          </a:xfrm>
        </p:spPr>
        <p:txBody>
          <a:bodyPr/>
          <a:lstStyle>
            <a:lvl1pPr>
              <a:defRPr sz="42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365807" y="3023616"/>
            <a:ext cx="11218101" cy="8965184"/>
          </a:xfrm>
        </p:spPr>
        <p:txBody>
          <a:bodyPr/>
          <a:lstStyle>
            <a:lvl1pPr>
              <a:lnSpc>
                <a:spcPct val="90000"/>
              </a:lnSpc>
              <a:defRPr sz="25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28671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65813" y="243840"/>
            <a:ext cx="23411507" cy="11744960"/>
          </a:xfrm>
        </p:spPr>
        <p:txBody>
          <a:bodyPr/>
          <a:lstStyle>
            <a:lvl1pPr>
              <a:defRPr sz="25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12413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12" y="536448"/>
            <a:ext cx="14835358" cy="1145235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7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94177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2778885" y="3316224"/>
            <a:ext cx="10998435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08464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560905" y="3243072"/>
            <a:ext cx="11047390" cy="8745728"/>
          </a:xfrm>
        </p:spPr>
        <p:txBody>
          <a:bodyPr/>
          <a:lstStyle>
            <a:lvl1pPr>
              <a:defRPr sz="6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3316224"/>
            <a:ext cx="10998616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5433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682086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2778880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75674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96986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9805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4901822" cy="114523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8875674" y="536448"/>
            <a:ext cx="4901822" cy="114523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654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420624"/>
            <a:ext cx="14662150" cy="9717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160763"/>
      </p:ext>
    </p:extLst>
  </p:cSld>
  <p:clrMapOvr>
    <a:masterClrMapping/>
  </p:clrMapOvr>
  <p:transition spd="med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10" y="536448"/>
            <a:ext cx="11047209" cy="1145235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193587" y="0"/>
            <a:ext cx="12193588" cy="13716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3200" b="0" i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6247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8605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44659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17692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12193587" y="0"/>
            <a:ext cx="6096794" cy="6858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18290381" y="0"/>
            <a:ext cx="6096794" cy="6858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12193587" y="6853772"/>
            <a:ext cx="12193588" cy="6862232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3791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12193588" cy="6858003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12193587" y="0"/>
            <a:ext cx="6096794" cy="6858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18290381" y="0"/>
            <a:ext cx="6096794" cy="6858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6853772"/>
            <a:ext cx="12193588" cy="6862232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12193587" y="6853772"/>
            <a:ext cx="12193588" cy="6862232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41720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2"/>
            <a:ext cx="24387175" cy="6851901"/>
          </a:xfrm>
          <a:noFill/>
        </p:spPr>
        <p:txBody>
          <a:bodyPr lIns="182880" tIns="164592" rIns="228600" bIns="228600"/>
          <a:lstStyle>
            <a:lvl1pPr>
              <a:defRPr sz="1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6853772"/>
            <a:ext cx="6096794" cy="6862232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6096796" y="6853772"/>
            <a:ext cx="6096794" cy="6862232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12193587" y="6853765"/>
            <a:ext cx="6096794" cy="6862235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18290381" y="6853765"/>
            <a:ext cx="6096794" cy="6862235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2964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24387175" cy="34036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3403600"/>
            <a:ext cx="24387175" cy="103124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71245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7175" cy="13728192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4" y="6858000"/>
            <a:ext cx="6096802" cy="6858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667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667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667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6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30223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6096794" cy="13728192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6096794" y="0"/>
            <a:ext cx="6096794" cy="13728192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12193587" y="0"/>
            <a:ext cx="6096794" cy="13728192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18290381" y="0"/>
            <a:ext cx="6096794" cy="13728192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194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" y="9299448"/>
            <a:ext cx="11050588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0" y="9296400"/>
            <a:ext cx="11049000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7620000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2"/>
            <a:ext cx="7623175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176053"/>
      </p:ext>
    </p:extLst>
  </p:cSld>
  <p:clrMapOvr>
    <a:masterClrMapping/>
  </p:clrMapOvr>
  <p:transition spd="med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6706473" y="3316224"/>
            <a:ext cx="17071023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95527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29832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682086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1752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682086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2730105" y="3243072"/>
            <a:ext cx="11047390" cy="8745728"/>
          </a:xfrm>
        </p:spPr>
        <p:txBody>
          <a:bodyPr/>
          <a:lstStyle>
            <a:lvl1pPr>
              <a:defRPr sz="6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68833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536448"/>
            <a:ext cx="4901822" cy="114523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6682089" y="536448"/>
            <a:ext cx="17095228" cy="11452352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09651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99196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668499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64992"/>
            <a:ext cx="10998616" cy="3493008"/>
          </a:xfrm>
        </p:spPr>
        <p:txBody>
          <a:bodyPr/>
          <a:lstStyle>
            <a:lvl1pPr>
              <a:spcBef>
                <a:spcPts val="0"/>
              </a:spcBef>
              <a:defRPr sz="2667"/>
            </a:lvl1pPr>
            <a:lvl2pPr marL="0" indent="0">
              <a:spcBef>
                <a:spcPts val="0"/>
              </a:spcBef>
              <a:buNone/>
              <a:defRPr/>
            </a:lvl2pPr>
            <a:lvl3pPr marL="537633" indent="0">
              <a:buNone/>
              <a:defRPr/>
            </a:lvl3pPr>
            <a:lvl4pPr marL="1159934" indent="0">
              <a:buNone/>
              <a:defRPr/>
            </a:lvl4pPr>
            <a:lvl5pPr marL="1684866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92" y="8558784"/>
            <a:ext cx="17095410" cy="3486912"/>
          </a:xfrm>
        </p:spPr>
        <p:txBody>
          <a:bodyPr anchor="b"/>
          <a:lstStyle>
            <a:lvl1pPr>
              <a:spcBef>
                <a:spcPts val="800"/>
              </a:spcBef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92966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218" y="6167696"/>
            <a:ext cx="3460739" cy="138061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27998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: 50%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4680E29-0639-4142-8893-ABFFEA725456}"/>
              </a:ext>
            </a:extLst>
          </p:cNvPr>
          <p:cNvSpPr/>
          <p:nvPr userDrawn="1"/>
        </p:nvSpPr>
        <p:spPr>
          <a:xfrm>
            <a:off x="12193587" y="0"/>
            <a:ext cx="12193588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64D8E7-4B8B-E54C-8EC6-F2891417C0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6400" b="0" i="0" spc="181" baseline="0">
                <a:latin typeface="IBM Plex Serif Light" charset="0"/>
                <a:ea typeface="IBM Plex Serif Light" charset="0"/>
                <a:cs typeface="IBM Plex Serif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0EF7AD-0106-B349-8957-0958B08750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EB2F17-774C-FC4D-8998-893743D6BE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19 IBM Corporation  |  </a:t>
            </a:r>
            <a:fld id="{62AC7532-E9CD-3F47-AFEB-F708F102E1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F2D07D-A7FC-4644-ABD8-857C61BD98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60" y="2743200"/>
            <a:ext cx="11279068" cy="10058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87872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3" y="426481"/>
            <a:ext cx="4949825" cy="1906588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0" y="429654"/>
            <a:ext cx="4949825" cy="1903413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68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68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4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2333067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767286"/>
      </p:ext>
    </p:extLst>
  </p:cSld>
  <p:clrMapOvr>
    <a:masterClrMapping/>
  </p:clrMapOvr>
  <p:transition spd="med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: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4A3C8-CAE7-4B41-8BCE-3AC160FE4B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45A50-F1AB-DB4C-85C5-BB4131B76E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19 IBM Corporation  |  </a:t>
            </a:r>
            <a:fld id="{62AC7532-E9CD-3F47-AFEB-F708F102E1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0CB871E5-6C27-5E42-8EE6-254DC51FEE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60" y="457200"/>
            <a:ext cx="11279068" cy="609600"/>
          </a:xfrm>
        </p:spPr>
        <p:txBody>
          <a:bodyPr>
            <a:normAutofit/>
          </a:bodyPr>
          <a:lstStyle>
            <a:lvl1pPr marL="0" indent="0">
              <a:buNone/>
              <a:defRPr sz="2400" b="0" i="0" spc="160" baseline="0">
                <a:solidFill>
                  <a:srgbClr val="0062FF"/>
                </a:solidFill>
                <a:latin typeface="IBM Plex Sans Text" charset="0"/>
                <a:ea typeface="IBM Plex Sans Text" charset="0"/>
                <a:cs typeface="IBM Plex Sans Text" charset="0"/>
              </a:defRPr>
            </a:lvl1pPr>
          </a:lstStyle>
          <a:p>
            <a:pPr lvl="0"/>
            <a:r>
              <a:rPr lang="en-US" dirty="0"/>
              <a:t>SECTION HEADING</a:t>
            </a:r>
          </a:p>
        </p:txBody>
      </p:sp>
    </p:spTree>
    <p:extLst>
      <p:ext uri="{BB962C8B-B14F-4D97-AF65-F5344CB8AC3E}">
        <p14:creationId xmlns:p14="http://schemas.microsoft.com/office/powerpoint/2010/main" val="1558621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CBFA7E-A902-EE49-AD12-1E348C27FAB2}"/>
              </a:ext>
            </a:extLst>
          </p:cNvPr>
          <p:cNvSpPr/>
          <p:nvPr userDrawn="1"/>
        </p:nvSpPr>
        <p:spPr>
          <a:xfrm>
            <a:off x="-3179" y="3"/>
            <a:ext cx="24387175" cy="842636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231"/>
            <a:endParaRPr lang="en-US" sz="3597">
              <a:solidFill>
                <a:srgbClr val="EB1483"/>
              </a:solidFill>
              <a:latin typeface="Myriad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397407406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86415" y="12513475"/>
            <a:ext cx="1391085" cy="554955"/>
          </a:xfrm>
          <a:prstGeom prst="rect">
            <a:avLst/>
          </a:prstGeom>
        </p:spPr>
      </p:pic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2FD0A39-BE8F-7C40-9445-B4130752E8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024068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F064091D-7C8F-DF45-B384-5E3A3B3311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8492147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33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537647" indent="0">
              <a:buNone/>
              <a:defRPr/>
            </a:lvl3pPr>
            <a:lvl4pPr marL="1159964" indent="0">
              <a:buNone/>
              <a:defRPr/>
            </a:lvl4pPr>
            <a:lvl5pPr marL="168490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2778880" y="3316224"/>
            <a:ext cx="10998616" cy="867257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537647" indent="0">
              <a:buNone/>
              <a:defRPr/>
            </a:lvl3pPr>
            <a:lvl4pPr marL="1159964" indent="0">
              <a:buNone/>
              <a:defRPr/>
            </a:lvl4pPr>
            <a:lvl5pPr marL="168490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2F6E6551-36B8-4540-826D-197999DD9E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448434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5292" y="585216"/>
            <a:ext cx="11023003" cy="2145792"/>
          </a:xfrm>
        </p:spPr>
        <p:txBody>
          <a:bodyPr/>
          <a:lstStyle>
            <a:lvl1pPr>
              <a:defRPr sz="42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365807" y="3023616"/>
            <a:ext cx="11218101" cy="8965184"/>
          </a:xfrm>
        </p:spPr>
        <p:txBody>
          <a:bodyPr/>
          <a:lstStyle>
            <a:lvl1pPr>
              <a:lnSpc>
                <a:spcPct val="90000"/>
              </a:lnSpc>
              <a:defRPr sz="25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B1394C9-25EA-C54D-B94A-39FE19063F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7950233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5292" y="585216"/>
            <a:ext cx="11023003" cy="2145792"/>
          </a:xfrm>
        </p:spPr>
        <p:txBody>
          <a:bodyPr/>
          <a:lstStyle>
            <a:lvl1pPr>
              <a:defRPr sz="42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365807" y="3023616"/>
            <a:ext cx="11218101" cy="8965184"/>
          </a:xfrm>
        </p:spPr>
        <p:txBody>
          <a:bodyPr/>
          <a:lstStyle>
            <a:lvl1pPr>
              <a:lnSpc>
                <a:spcPct val="90000"/>
              </a:lnSpc>
              <a:defRPr sz="25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D3C03E39-B3B0-2B4A-B5A0-7FCDC92F55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1028167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65810" y="243840"/>
            <a:ext cx="23411507" cy="11744960"/>
          </a:xfrm>
        </p:spPr>
        <p:txBody>
          <a:bodyPr/>
          <a:lstStyle>
            <a:lvl1pPr>
              <a:defRPr sz="25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0B58E13B-9E9B-0B4B-8351-5DB3E5664A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37564543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9" y="536448"/>
            <a:ext cx="14835358" cy="1145235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EEB6825-8E5F-6A4D-8AAC-FA1FF04B5C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3073145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11C46484-9421-7E41-A8C9-5DD3B716A5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795863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402336"/>
            <a:ext cx="4949825" cy="53355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402336"/>
            <a:ext cx="11049000" cy="5335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5" y="6477000"/>
            <a:ext cx="4949825" cy="5334000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609803"/>
      </p:ext>
    </p:extLst>
  </p:cSld>
  <p:clrMapOvr>
    <a:masterClrMapping/>
  </p:clrMapOvr>
  <p:transition spd="med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2778882" y="3316224"/>
            <a:ext cx="10998435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5EE7FDB3-E575-3047-BEE5-5AA06F62F0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8292635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560905" y="3243072"/>
            <a:ext cx="11047390" cy="8745728"/>
          </a:xfrm>
        </p:spPr>
        <p:txBody>
          <a:bodyPr/>
          <a:lstStyle>
            <a:lvl1pPr>
              <a:defRPr sz="6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3316224"/>
            <a:ext cx="10998616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9511F4CA-8106-CF4F-A849-CC0B61E21F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66967259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682086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2778880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75674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3B24C3-82E4-5B4B-B90C-C72D294E70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6378161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58DADE04-242C-9944-8149-55E73DCD37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1651219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4901822" cy="114523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8875674" y="536448"/>
            <a:ext cx="4901822" cy="114523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15439F4D-2E27-EE42-AB3E-FDE989EC74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2142444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8" y="536448"/>
            <a:ext cx="11047209" cy="1145235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ue 60 rectangle">
            <a:extLst>
              <a:ext uri="{FF2B5EF4-FFF2-40B4-BE49-F238E27FC236}">
                <a16:creationId xmlns:a16="http://schemas.microsoft.com/office/drawing/2014/main" id="{91D1D188-D7EA-5A44-A392-6E9BFB996D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193587" y="0"/>
            <a:ext cx="12193588" cy="137160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3200" b="0" i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C0913E05-BF0C-EB4D-B8BB-524ED1FD7E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5453651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F2857336-A1F0-694A-8C3C-DE17CD881A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0500339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C9698247-7150-7B45-B20B-1D4188496E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298677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6EBF9494-0FE3-EF48-9C2F-C34DCE9305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1520446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12193587" y="0"/>
            <a:ext cx="6096794" cy="6858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18290381" y="0"/>
            <a:ext cx="6096794" cy="6858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12193587" y="6853769"/>
            <a:ext cx="12193588" cy="6862232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F0C3BB4E-A2D9-9A47-A8AB-BBABA23514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8807883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7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2"/>
            <a:ext cx="4951413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1" y="8403336"/>
            <a:ext cx="4951411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986093"/>
      </p:ext>
    </p:extLst>
  </p:cSld>
  <p:clrMapOvr>
    <a:masterClrMapping/>
  </p:clrMapOvr>
  <p:transition spd="med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2"/>
            <a:ext cx="12193588" cy="6858003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12193587" y="0"/>
            <a:ext cx="6096794" cy="6858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18290381" y="0"/>
            <a:ext cx="6096794" cy="6858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6853769"/>
            <a:ext cx="12193588" cy="6862232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12193587" y="6853769"/>
            <a:ext cx="12193588" cy="6862232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E2CDA460-DD9F-AC42-AC47-A0C4A8184A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89170830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24387175" cy="6851901"/>
          </a:xfrm>
          <a:noFill/>
        </p:spPr>
        <p:txBody>
          <a:bodyPr lIns="182880" tIns="164592" rIns="228600" bIns="228600"/>
          <a:lstStyle>
            <a:lvl1pPr>
              <a:defRPr sz="1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6853769"/>
            <a:ext cx="6096794" cy="6862232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6096796" y="6853769"/>
            <a:ext cx="6096794" cy="6862232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12193587" y="6853765"/>
            <a:ext cx="6096794" cy="6862235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18290381" y="6853765"/>
            <a:ext cx="6096794" cy="6862235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7F397F2D-BF25-C144-A5A8-98DD5DD646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7768747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24387175" cy="3403600"/>
          </a:xfrm>
          <a:solidFill>
            <a:schemeClr val="bg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3403600"/>
            <a:ext cx="24387175" cy="103124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FDE4B7A4-098E-7842-BCE2-0881D3E882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0435063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7175" cy="13728192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7" y="6858000"/>
            <a:ext cx="6096802" cy="6858000"/>
          </a:xfrm>
          <a:solidFill>
            <a:schemeClr val="bg1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667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667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667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6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F337C8B-5569-F44A-BA9C-5464EB277E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96239637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6096794" cy="13728192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6096794" y="0"/>
            <a:ext cx="6096794" cy="13728192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12193587" y="0"/>
            <a:ext cx="6096794" cy="13728192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18290381" y="0"/>
            <a:ext cx="6096794" cy="13728192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02D4D89-3172-6547-846D-D544EC52FB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0479254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6706473" y="3316224"/>
            <a:ext cx="17071023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1D4AA23-AA20-7A48-AC06-72DA222115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54132623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573050A9-7418-8540-94BA-579A1978EC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1216096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682086" y="3316224"/>
            <a:ext cx="4901822" cy="867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12193587" y="0"/>
            <a:ext cx="12193588" cy="137160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C33999B7-9607-0448-90A0-ABF37C6D49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69572864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85292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682086" y="3316224"/>
            <a:ext cx="4901822" cy="8672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2730105" y="3243072"/>
            <a:ext cx="11047390" cy="8745728"/>
          </a:xfrm>
        </p:spPr>
        <p:txBody>
          <a:bodyPr/>
          <a:lstStyle>
            <a:lvl1pPr>
              <a:defRPr sz="6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AAD8B5FA-9B65-1849-B4CB-F7E62B1395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04423164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585292" y="536448"/>
            <a:ext cx="4901822" cy="114523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6682089" y="536448"/>
            <a:ext cx="17095228" cy="11452352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217EC8BA-6662-BA4D-AB3C-EEC827BB99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748200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193309"/>
      </p:ext>
    </p:extLst>
  </p:cSld>
  <p:clrMapOvr>
    <a:masterClrMapping/>
  </p:clrMapOvr>
  <p:transition spd="med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B725C155-4439-0E46-ADEA-4526D71CDD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06241138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39184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64992"/>
            <a:ext cx="10998616" cy="3493008"/>
          </a:xfrm>
        </p:spPr>
        <p:txBody>
          <a:bodyPr/>
          <a:lstStyle>
            <a:lvl1pPr>
              <a:spcBef>
                <a:spcPts val="0"/>
              </a:spcBef>
              <a:defRPr sz="2667"/>
            </a:lvl1pPr>
            <a:lvl2pPr marL="0" indent="0">
              <a:spcBef>
                <a:spcPts val="0"/>
              </a:spcBef>
              <a:buNone/>
              <a:defRPr/>
            </a:lvl2pPr>
            <a:lvl3pPr marL="537647" indent="0">
              <a:buNone/>
              <a:defRPr/>
            </a:lvl3pPr>
            <a:lvl4pPr marL="1159964" indent="0">
              <a:buNone/>
              <a:defRPr/>
            </a:lvl4pPr>
            <a:lvl5pPr marL="168490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4F04016-134E-5847-8C7D-495FF4D6E4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92" y="8558784"/>
            <a:ext cx="17095410" cy="3486912"/>
          </a:xfrm>
        </p:spPr>
        <p:txBody>
          <a:bodyPr anchor="b"/>
          <a:lstStyle>
            <a:lvl1pPr>
              <a:spcBef>
                <a:spcPts val="800"/>
              </a:spcBef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061B3C0F-B8B8-C344-A75D-5F7A862D22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0118644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218" y="6167691"/>
            <a:ext cx="3460739" cy="1380619"/>
          </a:xfrm>
          <a:prstGeom prst="rect">
            <a:avLst/>
          </a:prstGeom>
        </p:spPr>
      </p:pic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01411781-9B2E-2B45-A976-C0DB65677F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308410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7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0"/>
            <a:ext cx="0" cy="8572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2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0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379651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246845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097087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4000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0"/>
            <a:ext cx="494212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0"/>
            <a:ext cx="4952999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78764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24387175" cy="1200150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84617A5-E44D-86DD-8C8E-5D85DFCA4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01316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2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6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846203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7424927" cy="19065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100996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483618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45825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612082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3000" cy="4573587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865076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6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5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183900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6" cy="4572000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203820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3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1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0" y="576072"/>
            <a:ext cx="915672" cy="9144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0" y="576072"/>
            <a:ext cx="915672" cy="9144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2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489643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2478024"/>
            <a:ext cx="6670675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1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2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2" y="6473951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0" y="6477000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12192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0444779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4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11414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769836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1044239" cy="2276856"/>
          </a:xfrm>
        </p:spPr>
        <p:txBody>
          <a:bodyPr rIns="457200"/>
          <a:lstStyle>
            <a:lvl1pPr>
              <a:lnSpc>
                <a:spcPct val="11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3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69913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94236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CC25B71-827F-9C78-56BA-F30A6070A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872105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444486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249331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6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1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D492FDB-9D55-98D5-E9DE-229473DD594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F6D0C9D-C937-48E3-BE84-3DA0D1BC274C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B31714F-DB23-BEBB-75A7-6BFF47AECDDF}"/>
              </a:ext>
            </a:extLst>
          </p:cNvPr>
          <p:cNvCxnSpPr/>
          <p:nvPr userDrawn="1"/>
        </p:nvCxnSpPr>
        <p:spPr bwMode="auto">
          <a:xfrm>
            <a:off x="18294784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2478703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1" y="7429500"/>
            <a:ext cx="4951413" cy="379268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0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0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350859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2" y="6665976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698796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967149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6004458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485144176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0" y="565151"/>
            <a:ext cx="17151350" cy="1257934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723182277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24387174" cy="137159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430130626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2" y="12463272"/>
            <a:ext cx="11050588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6AD06EA-1AAE-9258-F68E-D0D307454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727532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5" y="569913"/>
            <a:ext cx="23244175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233576642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2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2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2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0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0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5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0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5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0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5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200783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3"/>
            <a:ext cx="17145000" cy="114315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331850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93769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131483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4" y="12804775"/>
            <a:ext cx="4956176" cy="381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166477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5371" y="6168460"/>
            <a:ext cx="3456432" cy="137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83331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8" y="536448"/>
            <a:ext cx="11047209" cy="114523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193587" y="0"/>
            <a:ext cx="12193588" cy="13716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3200" b="0" i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2778880" y="536448"/>
            <a:ext cx="10998616" cy="1145235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cclerate/ Interviewing / July 25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189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457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cclerate/ Interviewing / July 25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8739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63221" y="6167695"/>
            <a:ext cx="3460733" cy="1380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7338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0101072" cy="10479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365742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cclerate/ Interviewing / July 25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2386417" y="12547341"/>
            <a:ext cx="1391080" cy="554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8543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24387175" cy="12001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6288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34599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24387175" cy="12001500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12088368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71501" y="12084739"/>
            <a:ext cx="4937887" cy="1143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23551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/>
          <a:lstStyle>
            <a:lvl1pPr>
              <a:lnSpc>
                <a:spcPct val="100000"/>
              </a:lnSpc>
              <a:defRPr sz="8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06433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45735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6072" y="12463272"/>
            <a:ext cx="11050588" cy="76200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60153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0101072" cy="10479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307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10099675" cy="9337675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576072"/>
            <a:ext cx="10099675" cy="571500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972307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5" y="569913"/>
            <a:ext cx="4949825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385102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2859087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024930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20624"/>
            <a:ext cx="17141825" cy="8191500"/>
          </a:xfrm>
        </p:spPr>
        <p:txBody>
          <a:bodyPr/>
          <a:lstStyle>
            <a:lvl1pPr>
              <a:defRPr sz="17200" b="0" i="0">
                <a:solidFill>
                  <a:schemeClr val="tx2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330254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0099675" cy="9337675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576072"/>
            <a:ext cx="10099675" cy="571500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7850" y="12526963"/>
            <a:ext cx="16383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038868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9909175" cy="28590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7252" y="448056"/>
            <a:ext cx="11042073" cy="8574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 marL="585216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2pPr>
            <a:lvl3pPr marL="1097280" indent="-585216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3pPr>
            <a:lvl4pPr marL="1755648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95104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420624"/>
            <a:ext cx="14662150" cy="9717087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02579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" y="9299448"/>
            <a:ext cx="11050588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0" y="9296400"/>
            <a:ext cx="11049000" cy="35433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25800" b="0" i="0">
                <a:solidFill>
                  <a:schemeClr val="accent1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7620000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576072"/>
            <a:ext cx="7623175" cy="62880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12193587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875941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68263" y="426481"/>
            <a:ext cx="4949825" cy="1906588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59500" y="429654"/>
            <a:ext cx="4949825" cy="1903413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29768"/>
            <a:ext cx="4951413" cy="1907912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2333068"/>
            <a:ext cx="4951413" cy="967304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2334654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2333067"/>
            <a:ext cx="4953000" cy="966684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027540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402336"/>
            <a:ext cx="4949825" cy="5335588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402336"/>
            <a:ext cx="11049000" cy="533558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4675" y="6477000"/>
            <a:ext cx="4949825" cy="5334000"/>
          </a:xfrm>
        </p:spPr>
        <p:txBody>
          <a:bodyPr/>
          <a:lstStyle>
            <a:lvl1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8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6477000"/>
            <a:ext cx="11049000" cy="533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1pPr>
            <a:lvl2pPr marL="786384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2pPr>
            <a:lvl3pPr marL="1499616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3pPr>
            <a:lvl4pPr marL="2286000" indent="-786384"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8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160998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6667500" y="8191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6667500" y="4000500"/>
            <a:ext cx="1714500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7500" y="411480"/>
            <a:ext cx="4951413" cy="2859087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2042775"/>
            <a:ext cx="4951413" cy="1143000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7620000" cy="2859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4381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8572500"/>
            <a:ext cx="7620000" cy="2857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7500" y="4187952"/>
            <a:ext cx="4951413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7501" y="8403336"/>
            <a:ext cx="4951411" cy="2857506"/>
          </a:xfrm>
        </p:spPr>
        <p:txBody>
          <a:bodyPr/>
          <a:lstStyle>
            <a:lvl1pPr>
              <a:lnSpc>
                <a:spcPct val="90000"/>
              </a:lnSpc>
              <a:defRPr sz="1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616920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328763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437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3429000"/>
            <a:ext cx="0" cy="8572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12188952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18288000" y="3429000"/>
            <a:ext cx="0" cy="85770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9289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7500" y="576072"/>
            <a:ext cx="4956175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990440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097087"/>
          </a:xfrm>
        </p:spPr>
        <p:txBody>
          <a:bodyPr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4956175" cy="40005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8031" y="3429000"/>
            <a:ext cx="494212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1" y="3429000"/>
            <a:ext cx="4952999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67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76353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859500" y="576072"/>
            <a:ext cx="1216152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329432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862675" y="569913"/>
            <a:ext cx="4949825" cy="11431587"/>
          </a:xfrm>
        </p:spPr>
        <p:txBody>
          <a:bodyPr/>
          <a:lstStyle>
            <a:lvl1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1161288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468306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2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5976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800"/>
            </a:lvl2pPr>
            <a:lvl3pPr>
              <a:spcBef>
                <a:spcPts val="0"/>
              </a:spcBef>
              <a:defRPr sz="2800"/>
            </a:lvl3pPr>
            <a:lvl4pPr>
              <a:spcBef>
                <a:spcPts val="0"/>
              </a:spcBef>
              <a:defRPr sz="2800"/>
            </a:lvl4pPr>
            <a:lvl5pPr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715692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7424927" cy="1906588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3429000"/>
            <a:ext cx="100996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3429000"/>
            <a:ext cx="100965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44125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45825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76072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636841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3000" cy="4573587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835952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6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2675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315787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6" cy="4573587"/>
          </a:xfrm>
        </p:spPr>
        <p:txBody>
          <a:bodyPr rIns="0"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15255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65850" y="3429000"/>
            <a:ext cx="4953000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305929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4949825" cy="1141413"/>
          </a:xfrm>
        </p:spPr>
        <p:txBody>
          <a:bodyPr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638" y="3429000"/>
            <a:ext cx="495300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63638" y="3429000"/>
            <a:ext cx="4959350" cy="8572500"/>
          </a:xfrm>
        </p:spPr>
        <p:txBody>
          <a:bodyPr/>
          <a:lstStyle>
            <a:lvl1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8288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36576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548640" indent="-182880"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20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69151" y="384048"/>
            <a:ext cx="4956175" cy="1141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2800"/>
            </a:lvl2pPr>
            <a:lvl3pPr>
              <a:lnSpc>
                <a:spcPct val="90000"/>
              </a:lnSpc>
              <a:spcBef>
                <a:spcPts val="0"/>
              </a:spcBef>
              <a:defRPr sz="2800"/>
            </a:lvl3pPr>
            <a:lvl4pPr>
              <a:lnSpc>
                <a:spcPct val="90000"/>
              </a:lnSpc>
              <a:spcBef>
                <a:spcPts val="0"/>
              </a:spcBef>
              <a:defRPr sz="2800"/>
            </a:lvl4pPr>
            <a:lvl5pPr>
              <a:lnSpc>
                <a:spcPct val="90000"/>
              </a:lnSpc>
              <a:spcBef>
                <a:spcPts val="0"/>
              </a:spcBef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446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8859500" y="576072"/>
            <a:ext cx="1217844" cy="1216152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12188952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394089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2478024"/>
            <a:ext cx="6670675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24765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8385048"/>
            <a:ext cx="6670676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1" y="8382000"/>
            <a:ext cx="6667500" cy="304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1pPr>
            <a:lvl2pPr marL="402336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2pPr>
            <a:lvl3pPr marL="804672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3pPr>
            <a:lvl4pPr marL="1115568" indent="-402336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6072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2763500" y="576072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76072" y="6473951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0" y="6477000"/>
            <a:ext cx="1216152" cy="1216152"/>
          </a:xfrm>
        </p:spPr>
        <p:txBody>
          <a:bodyPr anchor="ctr"/>
          <a:lstStyle>
            <a:lvl1pPr algn="ctr">
              <a:defRPr sz="1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12192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56832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849255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682496"/>
            <a:ext cx="5715000" cy="2276856"/>
          </a:xfrm>
        </p:spPr>
        <p:txBody>
          <a:bodyPr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5024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11414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784464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1527048"/>
            <a:ext cx="11044239" cy="2276856"/>
          </a:xfrm>
        </p:spPr>
        <p:txBody>
          <a:bodyPr rIns="457200"/>
          <a:lstStyle>
            <a:lvl1pPr>
              <a:lnSpc>
                <a:spcPct val="11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69913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69913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72" y="576072"/>
            <a:ext cx="4956175" cy="44805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618719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8" cy="2859087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082123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56175" cy="4573587"/>
          </a:xfrm>
        </p:spPr>
        <p:txBody>
          <a:bodyPr/>
          <a:lstStyle>
            <a:lvl1pPr>
              <a:lnSpc>
                <a:spcPct val="10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324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62260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50589" cy="4573587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072" y="6656832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69591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6776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859500" y="6667501"/>
            <a:ext cx="4949825" cy="534491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14538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63500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859500" y="576072"/>
            <a:ext cx="495935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763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59500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65976" y="576072"/>
            <a:ext cx="4953000" cy="514508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9151" y="6667500"/>
            <a:ext cx="4953000" cy="4953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519414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28590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67500" y="1333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59501" y="1333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7500" y="7429500"/>
            <a:ext cx="4951413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763501" y="7429500"/>
            <a:ext cx="4951413" cy="3792682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859501" y="7429500"/>
            <a:ext cx="4953000" cy="381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1pPr>
            <a:lvl2pPr marL="219456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 marL="438912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 marL="658368" indent="-219456"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667500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2763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8859501" y="576072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7500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763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8859501" y="6694631"/>
            <a:ext cx="402336" cy="4032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17722850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6096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826521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384048"/>
            <a:ext cx="11039475" cy="3413126"/>
          </a:xfrm>
        </p:spPr>
        <p:txBody>
          <a:bodyPr rIns="457200"/>
          <a:lstStyle>
            <a:lvl1pPr>
              <a:lnSpc>
                <a:spcPct val="100000"/>
              </a:lnSpc>
              <a:defRPr sz="6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72" y="6665976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276809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3413126"/>
          </a:xfrm>
        </p:spPr>
        <p:txBody>
          <a:bodyPr rIns="0"/>
          <a:lstStyle>
            <a:lvl1pPr>
              <a:lnSpc>
                <a:spcPct val="11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763500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62675" y="576072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63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62675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16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67500" y="6667500"/>
            <a:ext cx="4953000" cy="4954587"/>
          </a:xfrm>
        </p:spPr>
        <p:txBody>
          <a:bodyPr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74675" y="6096000"/>
            <a:ext cx="23244175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096000" y="6096000"/>
            <a:ext cx="0" cy="59055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18288000" y="569913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12188952" y="566928"/>
            <a:ext cx="0" cy="11431587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644131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7500" y="3429000"/>
            <a:ext cx="4951413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763500" y="569913"/>
            <a:ext cx="11049000" cy="12574587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169651570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18291175" cy="137160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311852161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6072" y="3429000"/>
            <a:ext cx="4956175" cy="8572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67500" y="565151"/>
            <a:ext cx="17151350" cy="1257934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456029192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24387174" cy="13715999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144535508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420624"/>
            <a:ext cx="17141825" cy="8191500"/>
          </a:xfrm>
        </p:spPr>
        <p:txBody>
          <a:bodyPr/>
          <a:lstStyle>
            <a:lvl1pPr>
              <a:defRPr sz="17200" b="0" i="0">
                <a:solidFill>
                  <a:schemeClr val="tx2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68324" y="12804235"/>
            <a:ext cx="4956176" cy="38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678996"/>
      </p:ext>
    </p:extLst>
  </p:cSld>
  <p:clrMapOvr>
    <a:masterClrMapping/>
  </p:clrMapOvr>
  <p:transition spd="med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555959" y="12896848"/>
            <a:ext cx="256541" cy="254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325" y="569913"/>
            <a:ext cx="23244175" cy="1258093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291077042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558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72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6072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072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29000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757150" y="61214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7825" y="61214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2757150" y="9525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617825" y="9525001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2757150" y="2667000"/>
            <a:ext cx="2473325" cy="2476500"/>
          </a:xfrm>
          <a:solidFill>
            <a:srgbClr val="E0E0E0"/>
          </a:solidFill>
        </p:spPr>
        <p:txBody>
          <a:bodyPr anchor="ctr"/>
          <a:lstStyle>
            <a:lvl1pPr marL="0" marR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617825" y="2667000"/>
            <a:ext cx="5708650" cy="24765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 marL="256032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2pPr>
            <a:lvl3pPr marL="512064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3pPr>
            <a:lvl4pPr marL="768096" indent="-256032"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216108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4573587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667500" y="569913"/>
            <a:ext cx="17145000" cy="114315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239043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398295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072" y="384048"/>
            <a:ext cx="4956175" cy="2859087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6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859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81024" y="12804775"/>
            <a:ext cx="4956176" cy="381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63500" y="569913"/>
            <a:ext cx="4953000" cy="11431587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146304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292608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438912" indent="-146304"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90418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576072"/>
            <a:ext cx="4949825" cy="1527048"/>
          </a:xfrm>
        </p:spPr>
        <p:txBody>
          <a:bodyPr/>
          <a:lstStyle>
            <a:lvl1pPr>
              <a:lnSpc>
                <a:spcPct val="110000"/>
              </a:lnSpc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3541592" y="12938838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64169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65371" y="6168460"/>
            <a:ext cx="3456432" cy="137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486923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86417" y="12513477"/>
            <a:ext cx="1391085" cy="554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2720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77714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2133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85292" y="3316224"/>
            <a:ext cx="10998616" cy="867257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537633" indent="0">
              <a:buNone/>
              <a:defRPr/>
            </a:lvl3pPr>
            <a:lvl4pPr marL="1159934" indent="0">
              <a:buNone/>
              <a:defRPr/>
            </a:lvl4pPr>
            <a:lvl5pPr marL="1684866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2778880" y="3316224"/>
            <a:ext cx="10998616" cy="867257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537633" indent="0">
              <a:buNone/>
              <a:defRPr/>
            </a:lvl3pPr>
            <a:lvl4pPr marL="1159934" indent="0">
              <a:buNone/>
              <a:defRPr/>
            </a:lvl4pPr>
            <a:lvl5pPr marL="1684866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Accelerate /January2022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494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92.xml"/><Relationship Id="rId47" Type="http://schemas.openxmlformats.org/officeDocument/2006/relationships/theme" Target="../theme/theme2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slideLayout" Target="../slideLayouts/slideLayout90.xml"/><Relationship Id="rId45" Type="http://schemas.openxmlformats.org/officeDocument/2006/relationships/slideLayout" Target="../slideLayouts/slideLayout95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4" Type="http://schemas.openxmlformats.org/officeDocument/2006/relationships/slideLayout" Target="../slideLayouts/slideLayout94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43" Type="http://schemas.openxmlformats.org/officeDocument/2006/relationships/slideLayout" Target="../slideLayouts/slideLayout93.xml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4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9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37" Type="http://schemas.openxmlformats.org/officeDocument/2006/relationships/tags" Target="../tags/tag1.xml"/><Relationship Id="rId40" Type="http://schemas.openxmlformats.org/officeDocument/2006/relationships/image" Target="../media/image5.emf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33" Type="http://schemas.openxmlformats.org/officeDocument/2006/relationships/theme" Target="../theme/theme4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32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31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Relationship Id="rId30" Type="http://schemas.openxmlformats.org/officeDocument/2006/relationships/slideLayout" Target="../slideLayouts/slideLayout161.xml"/><Relationship Id="rId8" Type="http://schemas.openxmlformats.org/officeDocument/2006/relationships/slideLayout" Target="../slideLayouts/slideLayout1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8760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4675" y="577850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399"/>
            <a:ext cx="22590125" cy="866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7284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1" r:id="rId7"/>
    <p:sldLayoutId id="2147484012" r:id="rId8"/>
    <p:sldLayoutId id="2147484013" r:id="rId9"/>
    <p:sldLayoutId id="2147484014" r:id="rId10"/>
    <p:sldLayoutId id="2147484015" r:id="rId11"/>
    <p:sldLayoutId id="2147484016" r:id="rId12"/>
    <p:sldLayoutId id="2147484017" r:id="rId13"/>
    <p:sldLayoutId id="2147484018" r:id="rId14"/>
    <p:sldLayoutId id="2147484019" r:id="rId15"/>
    <p:sldLayoutId id="2147484020" r:id="rId16"/>
    <p:sldLayoutId id="2147484021" r:id="rId17"/>
    <p:sldLayoutId id="2147484022" r:id="rId18"/>
    <p:sldLayoutId id="2147484023" r:id="rId19"/>
    <p:sldLayoutId id="2147484024" r:id="rId20"/>
    <p:sldLayoutId id="2147484025" r:id="rId21"/>
    <p:sldLayoutId id="2147484026" r:id="rId22"/>
    <p:sldLayoutId id="2147484027" r:id="rId23"/>
    <p:sldLayoutId id="2147484028" r:id="rId24"/>
    <p:sldLayoutId id="2147484029" r:id="rId25"/>
    <p:sldLayoutId id="2147484030" r:id="rId26"/>
    <p:sldLayoutId id="2147484031" r:id="rId27"/>
    <p:sldLayoutId id="2147484032" r:id="rId28"/>
    <p:sldLayoutId id="2147484033" r:id="rId29"/>
    <p:sldLayoutId id="2147484034" r:id="rId30"/>
    <p:sldLayoutId id="2147484035" r:id="rId31"/>
    <p:sldLayoutId id="2147484036" r:id="rId32"/>
    <p:sldLayoutId id="2147484037" r:id="rId33"/>
    <p:sldLayoutId id="2147484038" r:id="rId34"/>
    <p:sldLayoutId id="2147484039" r:id="rId35"/>
    <p:sldLayoutId id="2147484040" r:id="rId36"/>
    <p:sldLayoutId id="2147484041" r:id="rId37"/>
    <p:sldLayoutId id="2147484042" r:id="rId38"/>
    <p:sldLayoutId id="2147484043" r:id="rId39"/>
    <p:sldLayoutId id="2147484044" r:id="rId40"/>
    <p:sldLayoutId id="2147484045" r:id="rId41"/>
    <p:sldLayoutId id="2147484046" r:id="rId42"/>
    <p:sldLayoutId id="2147484048" r:id="rId43"/>
    <p:sldLayoutId id="2147484047" r:id="rId44"/>
    <p:sldLayoutId id="2147484049" r:id="rId45"/>
    <p:sldLayoutId id="2147484050" r:id="rId46"/>
    <p:sldLayoutId id="2147484168" r:id="rId47"/>
    <p:sldLayoutId id="2147484169" r:id="rId48"/>
    <p:sldLayoutId id="2147484170" r:id="rId49"/>
    <p:sldLayoutId id="2147484172" r:id="rId50"/>
  </p:sldLayoutIdLst>
  <p:transition spd="med"/>
  <p:hf hdr="0" dt="0"/>
  <p:txStyles>
    <p:titleStyle>
      <a:lvl1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68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139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70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27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84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368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552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3000" marR="0" indent="-457200" algn="l" defTabSz="2438400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306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631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820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769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9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982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974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965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956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948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94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93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 userDrawn="1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541592" y="12938760"/>
            <a:ext cx="270908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1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574675" y="577850"/>
            <a:ext cx="22590125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574675" y="3327399"/>
            <a:ext cx="22590125" cy="866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77454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054" r:id="rId3"/>
    <p:sldLayoutId id="2147484055" r:id="rId4"/>
    <p:sldLayoutId id="2147484056" r:id="rId5"/>
    <p:sldLayoutId id="2147484057" r:id="rId6"/>
    <p:sldLayoutId id="2147484058" r:id="rId7"/>
    <p:sldLayoutId id="2147484059" r:id="rId8"/>
    <p:sldLayoutId id="2147484060" r:id="rId9"/>
    <p:sldLayoutId id="2147484061" r:id="rId10"/>
    <p:sldLayoutId id="2147484062" r:id="rId11"/>
    <p:sldLayoutId id="2147484063" r:id="rId12"/>
    <p:sldLayoutId id="2147484064" r:id="rId13"/>
    <p:sldLayoutId id="2147484065" r:id="rId14"/>
    <p:sldLayoutId id="2147484066" r:id="rId15"/>
    <p:sldLayoutId id="2147484067" r:id="rId16"/>
    <p:sldLayoutId id="2147484068" r:id="rId17"/>
    <p:sldLayoutId id="2147484069" r:id="rId18"/>
    <p:sldLayoutId id="2147484070" r:id="rId19"/>
    <p:sldLayoutId id="2147484071" r:id="rId20"/>
    <p:sldLayoutId id="2147484072" r:id="rId21"/>
    <p:sldLayoutId id="2147484073" r:id="rId22"/>
    <p:sldLayoutId id="2147484074" r:id="rId23"/>
    <p:sldLayoutId id="2147484075" r:id="rId24"/>
    <p:sldLayoutId id="2147484076" r:id="rId25"/>
    <p:sldLayoutId id="2147484077" r:id="rId26"/>
    <p:sldLayoutId id="2147484078" r:id="rId27"/>
    <p:sldLayoutId id="2147484079" r:id="rId28"/>
    <p:sldLayoutId id="2147484080" r:id="rId29"/>
    <p:sldLayoutId id="2147484081" r:id="rId30"/>
    <p:sldLayoutId id="2147484082" r:id="rId31"/>
    <p:sldLayoutId id="2147484083" r:id="rId32"/>
    <p:sldLayoutId id="2147484084" r:id="rId33"/>
    <p:sldLayoutId id="2147484085" r:id="rId34"/>
    <p:sldLayoutId id="2147484086" r:id="rId35"/>
    <p:sldLayoutId id="2147484087" r:id="rId36"/>
    <p:sldLayoutId id="2147484088" r:id="rId37"/>
    <p:sldLayoutId id="2147484089" r:id="rId38"/>
    <p:sldLayoutId id="2147484090" r:id="rId39"/>
    <p:sldLayoutId id="2147484091" r:id="rId40"/>
    <p:sldLayoutId id="2147484092" r:id="rId41"/>
    <p:sldLayoutId id="2147484093" r:id="rId42"/>
    <p:sldLayoutId id="2147484094" r:id="rId43"/>
    <p:sldLayoutId id="2147484095" r:id="rId44"/>
    <p:sldLayoutId id="2147484096" r:id="rId45"/>
    <p:sldLayoutId id="2147484097" r:id="rId46"/>
  </p:sldLayoutIdLst>
  <p:transition spd="med"/>
  <p:hf hdr="0" dt="0"/>
  <p:txStyles>
    <p:titleStyle>
      <a:lvl1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362568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725139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108770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1450276" algn="l" defTabSz="2438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329184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658368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987552" marR="0" indent="-329184" algn="l" defTabSz="2438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360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1143000" marR="0" indent="-457200" algn="l" defTabSz="2438400" rtl="0" eaLnBrk="1" latinLnBrk="0" hangingPunct="1">
        <a:lnSpc>
          <a:spcPct val="110000"/>
        </a:lnSpc>
        <a:spcBef>
          <a:spcPts val="29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184306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2205631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2568200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2930769" marR="0" indent="-389009" algn="l" defTabSz="2438400" rtl="0" eaLnBrk="1" latinLnBrk="0" hangingPunct="1">
        <a:lnSpc>
          <a:spcPct val="100000"/>
        </a:lnSpc>
        <a:spcBef>
          <a:spcPts val="2900"/>
        </a:spcBef>
        <a:spcAft>
          <a:spcPts val="0"/>
        </a:spcAft>
        <a:buClrTx/>
        <a:buSzPct val="100000"/>
        <a:buFontTx/>
        <a:buChar char="»"/>
        <a:tabLst/>
        <a:defRPr sz="36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34299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685982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1028974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1371965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1714956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2057948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2400940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2743931" algn="r" defTabSz="182928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6826B0-1F48-0448-ACDB-C21529DD54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4239" y="4239"/>
          <a:ext cx="4233" cy="42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7772400" imgH="10058400" progId="TCLayout.ActiveDocument.1">
                  <p:embed/>
                </p:oleObj>
              </mc:Choice>
              <mc:Fallback>
                <p:oleObj name="think-cell Slide" r:id="rId3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6826B0-1F48-0448-ACDB-C21529DD5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4239" y="4239"/>
                        <a:ext cx="4233" cy="42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016D13-902A-C248-AC22-0102E98ECD6F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3" y="3"/>
            <a:ext cx="423388" cy="423333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24383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IBM Plex Sans" panose="020B0503050203000203" pitchFamily="34" charset="0"/>
              <a:sym typeface="IBM Plex Sans" panose="020B0503050203000203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12778880" y="536448"/>
            <a:ext cx="10998616" cy="114523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09860" y="12767737"/>
            <a:ext cx="10974055" cy="444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829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Accelerate /January2022 / © 2019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900066" y="12767737"/>
            <a:ext cx="4877254" cy="444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292652" y="-294640"/>
            <a:ext cx="24974505" cy="143052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283169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  <p:sldLayoutId id="2147484110" r:id="rId12"/>
    <p:sldLayoutId id="2147484111" r:id="rId13"/>
    <p:sldLayoutId id="2147484112" r:id="rId14"/>
    <p:sldLayoutId id="2147484113" r:id="rId15"/>
    <p:sldLayoutId id="2147484114" r:id="rId16"/>
    <p:sldLayoutId id="2147484115" r:id="rId17"/>
    <p:sldLayoutId id="2147484116" r:id="rId18"/>
    <p:sldLayoutId id="2147484117" r:id="rId19"/>
    <p:sldLayoutId id="2147484118" r:id="rId20"/>
    <p:sldLayoutId id="2147484119" r:id="rId21"/>
    <p:sldLayoutId id="2147484120" r:id="rId22"/>
    <p:sldLayoutId id="2147484121" r:id="rId23"/>
    <p:sldLayoutId id="2147484122" r:id="rId24"/>
    <p:sldLayoutId id="2147484123" r:id="rId25"/>
    <p:sldLayoutId id="2147484124" r:id="rId26"/>
    <p:sldLayoutId id="2147484125" r:id="rId27"/>
    <p:sldLayoutId id="2147484126" r:id="rId28"/>
    <p:sldLayoutId id="2147484127" r:id="rId29"/>
    <p:sldLayoutId id="2147484128" r:id="rId30"/>
    <p:sldLayoutId id="2147484129" r:id="rId31"/>
    <p:sldLayoutId id="2147484130" r:id="rId32"/>
    <p:sldLayoutId id="2147484131" r:id="rId33"/>
    <p:sldLayoutId id="2147484132" r:id="rId34"/>
    <p:sldLayoutId id="2147484133" r:id="rId3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6400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5pPr>
      <a:lvl6pPr marL="96683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6pPr>
      <a:lvl7pPr marL="19336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7pPr>
      <a:lvl8pPr marL="290051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8pPr>
      <a:lvl9pPr marL="38673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3733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457200" indent="-463291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3733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914401" indent="-463291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3733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1676402" indent="-463291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3733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2142067" indent="-463291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3733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4223202" indent="-34578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6pPr>
      <a:lvl7pPr marL="5190046" indent="-34578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7pPr>
      <a:lvl8pPr marL="6156882" indent="-34578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8pPr>
      <a:lvl9pPr marL="7123726" indent="-34578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1933680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1pPr>
      <a:lvl2pPr marL="966836" algn="l" defTabSz="1933680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2pPr>
      <a:lvl3pPr marL="1933680" algn="l" defTabSz="1933680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3pPr>
      <a:lvl4pPr marL="2900516" algn="l" defTabSz="1933680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4pPr>
      <a:lvl5pPr marL="3867355" algn="l" defTabSz="1933680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5pPr>
      <a:lvl6pPr marL="4834196" algn="l" defTabSz="1933680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6pPr>
      <a:lvl7pPr marL="5801030" algn="l" defTabSz="1933680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7pPr>
      <a:lvl8pPr marL="6767871" algn="l" defTabSz="1933680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8pPr>
      <a:lvl9pPr marL="7734710" algn="l" defTabSz="1933680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560905" y="536448"/>
            <a:ext cx="11047390" cy="114523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12778880" y="536448"/>
            <a:ext cx="10998616" cy="114523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8900063" y="12767735"/>
            <a:ext cx="4877254" cy="444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9" name="Group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292652" y="-294640"/>
            <a:ext cx="24974505" cy="143052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51" name="Footer Placeholder">
            <a:extLst>
              <a:ext uri="{FF2B5EF4-FFF2-40B4-BE49-F238E27FC236}">
                <a16:creationId xmlns:a16="http://schemas.microsoft.com/office/drawing/2014/main" id="{9FF63015-08C4-8E46-B3C9-68068883C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857" y="12767735"/>
            <a:ext cx="10974055" cy="44449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HR/ DOC ID / Month XX, 2020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325289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37" r:id="rId3"/>
    <p:sldLayoutId id="2147484138" r:id="rId4"/>
    <p:sldLayoutId id="2147484139" r:id="rId5"/>
    <p:sldLayoutId id="2147484140" r:id="rId6"/>
    <p:sldLayoutId id="2147484141" r:id="rId7"/>
    <p:sldLayoutId id="2147484142" r:id="rId8"/>
    <p:sldLayoutId id="2147484143" r:id="rId9"/>
    <p:sldLayoutId id="2147484144" r:id="rId10"/>
    <p:sldLayoutId id="2147484145" r:id="rId11"/>
    <p:sldLayoutId id="2147484146" r:id="rId12"/>
    <p:sldLayoutId id="2147484147" r:id="rId13"/>
    <p:sldLayoutId id="2147484148" r:id="rId14"/>
    <p:sldLayoutId id="2147484149" r:id="rId15"/>
    <p:sldLayoutId id="2147484150" r:id="rId16"/>
    <p:sldLayoutId id="2147484151" r:id="rId17"/>
    <p:sldLayoutId id="2147484152" r:id="rId18"/>
    <p:sldLayoutId id="2147484153" r:id="rId19"/>
    <p:sldLayoutId id="2147484154" r:id="rId20"/>
    <p:sldLayoutId id="2147484155" r:id="rId21"/>
    <p:sldLayoutId id="2147484156" r:id="rId22"/>
    <p:sldLayoutId id="2147484157" r:id="rId23"/>
    <p:sldLayoutId id="2147484158" r:id="rId24"/>
    <p:sldLayoutId id="2147484159" r:id="rId25"/>
    <p:sldLayoutId id="2147484160" r:id="rId26"/>
    <p:sldLayoutId id="2147484161" r:id="rId27"/>
    <p:sldLayoutId id="2147484162" r:id="rId28"/>
    <p:sldLayoutId id="2147484163" r:id="rId29"/>
    <p:sldLayoutId id="2147484164" r:id="rId30"/>
    <p:sldLayoutId id="2147484165" r:id="rId31"/>
    <p:sldLayoutId id="2147484166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6400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5pPr>
      <a:lvl6pPr marL="9668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6pPr>
      <a:lvl7pPr marL="19337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7pPr>
      <a:lvl8pPr marL="290058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8pPr>
      <a:lvl9pPr marL="38674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92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3733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457211" indent="-463302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3733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914425" indent="-463302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3733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1676442" indent="-463302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3733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2142120" indent="-463302" algn="l" rtl="0" eaLnBrk="1" fontAlgn="base" hangingPunct="1">
        <a:lnSpc>
          <a:spcPct val="100000"/>
        </a:lnSpc>
        <a:spcBef>
          <a:spcPts val="2933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3733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4223309" indent="-34579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6pPr>
      <a:lvl7pPr marL="5190174" indent="-34579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7pPr>
      <a:lvl8pPr marL="6157037" indent="-34579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8pPr>
      <a:lvl9pPr marL="7123902" indent="-345791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3384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1pPr>
      <a:lvl2pPr marL="966860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2pPr>
      <a:lvl3pPr marL="1933728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3pPr>
      <a:lvl4pPr marL="2900588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4pPr>
      <a:lvl5pPr marL="3867451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5pPr>
      <a:lvl6pPr marL="4834316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6pPr>
      <a:lvl7pPr marL="5801177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7pPr>
      <a:lvl8pPr marL="6768039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8pPr>
      <a:lvl9pPr marL="7734902" algn="l" defTabSz="1933728" rtl="0" eaLnBrk="1" latinLnBrk="0" hangingPunct="1">
        <a:defRPr sz="38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7.svg"/><Relationship Id="rId7" Type="http://schemas.openxmlformats.org/officeDocument/2006/relationships/image" Target="../media/image39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8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Relationship Id="rId9" Type="http://schemas.openxmlformats.org/officeDocument/2006/relationships/image" Target="../media/image4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7.svg"/><Relationship Id="rId7" Type="http://schemas.openxmlformats.org/officeDocument/2006/relationships/image" Target="../media/image39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8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Relationship Id="rId9" Type="http://schemas.openxmlformats.org/officeDocument/2006/relationships/image" Target="../media/image4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7.svg"/><Relationship Id="rId7" Type="http://schemas.openxmlformats.org/officeDocument/2006/relationships/image" Target="../media/image39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8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Relationship Id="rId9" Type="http://schemas.openxmlformats.org/officeDocument/2006/relationships/image" Target="../media/image4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8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9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3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E974E0E2-9D45-390C-15F8-791E3A6D9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4" y="1196722"/>
            <a:ext cx="11042841" cy="45674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1500" kern="0" dirty="0"/>
              <a:t>IBM Acceler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CAB091-5B1C-3A14-9147-6A0740AF42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691BE2-B09E-63B0-43BE-A0EACBD30D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57983" y="-13253"/>
            <a:ext cx="7742444" cy="13753027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463FA41-D629-CCD8-1127-CEC6C25E1761}"/>
              </a:ext>
            </a:extLst>
          </p:cNvPr>
          <p:cNvSpPr txBox="1">
            <a:spLocks/>
          </p:cNvSpPr>
          <p:nvPr/>
        </p:nvSpPr>
        <p:spPr>
          <a:xfrm>
            <a:off x="568324" y="3386915"/>
            <a:ext cx="8860535" cy="85675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1161288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329184" marR="0" indent="-329184" algn="l" defTabSz="1161288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58368" marR="0" indent="-329184" algn="l" defTabSz="1161288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87552" marR="0" indent="-329184" algn="l" defTabSz="1161288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1161288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1158240"/>
            <a:r>
              <a:rPr lang="en-US" sz="4800" kern="0" dirty="0">
                <a:latin typeface="+mn-lt"/>
              </a:rPr>
              <a:t>Virtual learning experience from June 3</a:t>
            </a:r>
            <a:r>
              <a:rPr lang="en-US" sz="4800" kern="0" baseline="30000" dirty="0">
                <a:latin typeface="+mn-lt"/>
              </a:rPr>
              <a:t>rd</a:t>
            </a:r>
            <a:r>
              <a:rPr lang="en-US" sz="4800" kern="0" dirty="0">
                <a:latin typeface="+mn-lt"/>
              </a:rPr>
              <a:t> – July 24</a:t>
            </a:r>
            <a:r>
              <a:rPr lang="en-US" sz="4800" kern="0" baseline="30000" dirty="0">
                <a:latin typeface="+mn-lt"/>
              </a:rPr>
              <a:t>th</a:t>
            </a:r>
            <a:r>
              <a:rPr lang="en-US" sz="4800" kern="0" dirty="0">
                <a:latin typeface="+mn-lt"/>
              </a:rPr>
              <a:t>, 202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75AE32-EA08-716F-B583-1EF8B7564917}"/>
              </a:ext>
            </a:extLst>
          </p:cNvPr>
          <p:cNvSpPr txBox="1"/>
          <p:nvPr/>
        </p:nvSpPr>
        <p:spPr>
          <a:xfrm>
            <a:off x="-1544320" y="5750560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29155EA5-0086-E0C9-12C8-50A623086566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2324612881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09ADE85-53F4-B8BC-6B9F-E7EDAB8C39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13" y="-895172"/>
            <a:ext cx="12769171" cy="136611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F265D9-C077-F215-1A9B-843F11C8E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4" y="442657"/>
            <a:ext cx="11617515" cy="1901015"/>
          </a:xfrm>
        </p:spPr>
        <p:txBody>
          <a:bodyPr/>
          <a:lstStyle/>
          <a:p>
            <a:r>
              <a:rPr lang="en-US" sz="8800" dirty="0">
                <a:solidFill>
                  <a:schemeClr val="tx1"/>
                </a:solidFill>
              </a:rPr>
              <a:t>What Should I NOT Ask?</a:t>
            </a:r>
            <a:br>
              <a:rPr lang="en-US" sz="8800" dirty="0">
                <a:solidFill>
                  <a:schemeClr val="tx1"/>
                </a:solidFill>
              </a:rPr>
            </a:br>
            <a:br>
              <a:rPr lang="en-US" sz="8800" dirty="0">
                <a:solidFill>
                  <a:schemeClr val="tx1"/>
                </a:solidFill>
              </a:rPr>
            </a:br>
            <a:endParaRPr lang="en-US" sz="88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57A3DA-B3D9-4B2B-02C8-493CCD7284BB}"/>
              </a:ext>
            </a:extLst>
          </p:cNvPr>
          <p:cNvSpPr txBox="1"/>
          <p:nvPr/>
        </p:nvSpPr>
        <p:spPr>
          <a:xfrm>
            <a:off x="576072" y="2285063"/>
            <a:ext cx="9482328" cy="67208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D6E5C7-3092-F8D6-AED1-FF7A95A4995A}"/>
              </a:ext>
            </a:extLst>
          </p:cNvPr>
          <p:cNvSpPr txBox="1">
            <a:spLocks/>
          </p:cNvSpPr>
          <p:nvPr/>
        </p:nvSpPr>
        <p:spPr>
          <a:xfrm>
            <a:off x="781748" y="3653758"/>
            <a:ext cx="10631489" cy="784039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329184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58368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87552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1219170">
              <a:buClr>
                <a:schemeClr val="bg1"/>
              </a:buClr>
            </a:pPr>
            <a:r>
              <a:rPr lang="en-US" sz="4000" kern="0" dirty="0">
                <a:solidFill>
                  <a:schemeClr val="accent1"/>
                </a:solidFill>
                <a:latin typeface="+mn-lt"/>
              </a:rPr>
              <a:t>When can I take a vacation? </a:t>
            </a:r>
          </a:p>
          <a:p>
            <a:pPr defTabSz="1219170">
              <a:buClr>
                <a:schemeClr val="bg1"/>
              </a:buClr>
            </a:pPr>
            <a:endParaRPr lang="en-US" sz="4000" kern="0" dirty="0">
              <a:solidFill>
                <a:schemeClr val="accent1"/>
              </a:solidFill>
              <a:latin typeface="+mn-lt"/>
            </a:endParaRPr>
          </a:p>
          <a:p>
            <a:pPr defTabSz="1219170">
              <a:buClr>
                <a:schemeClr val="bg1"/>
              </a:buClr>
            </a:pPr>
            <a:r>
              <a:rPr lang="en-US" sz="4000" kern="0" dirty="0">
                <a:solidFill>
                  <a:schemeClr val="accent1"/>
                </a:solidFill>
                <a:latin typeface="+mn-lt"/>
              </a:rPr>
              <a:t>Don't discuss previous commitments before being offered a position</a:t>
            </a:r>
          </a:p>
          <a:p>
            <a:pPr defTabSz="1219170">
              <a:buClr>
                <a:schemeClr val="bg1"/>
              </a:buClr>
            </a:pPr>
            <a:endParaRPr lang="en-US" sz="4000" kern="0" dirty="0">
              <a:solidFill>
                <a:schemeClr val="accent1"/>
              </a:solidFill>
              <a:latin typeface="+mn-lt"/>
            </a:endParaRPr>
          </a:p>
          <a:p>
            <a:pPr defTabSz="1219170">
              <a:buClr>
                <a:schemeClr val="bg1"/>
              </a:buClr>
            </a:pPr>
            <a:r>
              <a:rPr lang="en-US" sz="4000" kern="0" dirty="0">
                <a:solidFill>
                  <a:schemeClr val="accent1"/>
                </a:solidFill>
                <a:latin typeface="+mn-lt"/>
              </a:rPr>
              <a:t>What does your company do? </a:t>
            </a:r>
          </a:p>
          <a:p>
            <a:pPr defTabSz="1219170">
              <a:buClr>
                <a:schemeClr val="bg1"/>
              </a:buClr>
            </a:pPr>
            <a:endParaRPr lang="en-US" sz="4000" kern="0" dirty="0">
              <a:solidFill>
                <a:schemeClr val="accent1"/>
              </a:solidFill>
              <a:latin typeface="+mn-lt"/>
            </a:endParaRPr>
          </a:p>
          <a:p>
            <a:pPr defTabSz="1219170">
              <a:buClr>
                <a:schemeClr val="bg1"/>
              </a:buClr>
            </a:pPr>
            <a:r>
              <a:rPr lang="en-US" sz="4000" kern="0" dirty="0">
                <a:solidFill>
                  <a:schemeClr val="accent1"/>
                </a:solidFill>
                <a:latin typeface="+mn-lt"/>
              </a:rPr>
              <a:t>What is the compensation?</a:t>
            </a:r>
          </a:p>
          <a:p>
            <a:pPr defTabSz="1219170">
              <a:buClr>
                <a:schemeClr val="bg1"/>
              </a:buClr>
            </a:pPr>
            <a:endParaRPr lang="en-US" sz="4000" kern="0" dirty="0">
              <a:solidFill>
                <a:schemeClr val="accent1"/>
              </a:solidFill>
              <a:latin typeface="+mn-lt"/>
            </a:endParaRPr>
          </a:p>
          <a:p>
            <a:pPr defTabSz="1219170">
              <a:buClr>
                <a:schemeClr val="bg1"/>
              </a:buClr>
            </a:pPr>
            <a:r>
              <a:rPr lang="en-US" sz="4000" kern="0" dirty="0">
                <a:solidFill>
                  <a:schemeClr val="accent1"/>
                </a:solidFill>
                <a:latin typeface="+mn-lt"/>
              </a:rPr>
              <a:t>Is a drug test required at any point in the recruitment process?</a:t>
            </a:r>
          </a:p>
        </p:txBody>
      </p:sp>
      <p:sp>
        <p:nvSpPr>
          <p:cNvPr id="4" name="Footer Placeholder 6">
            <a:extLst>
              <a:ext uri="{FF2B5EF4-FFF2-40B4-BE49-F238E27FC236}">
                <a16:creationId xmlns:a16="http://schemas.microsoft.com/office/drawing/2014/main" id="{AE3222E1-302F-8547-A212-7DD743D42B05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373406119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378C7911-844E-8F6B-E54C-1D056D643229}"/>
              </a:ext>
            </a:extLst>
          </p:cNvPr>
          <p:cNvSpPr/>
          <p:nvPr/>
        </p:nvSpPr>
        <p:spPr bwMode="auto">
          <a:xfrm>
            <a:off x="-1588" y="-15859"/>
            <a:ext cx="24387173" cy="3429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27B7D5-8ACD-16F6-C3F8-F43B2F6D0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4" y="173053"/>
            <a:ext cx="11617515" cy="868648"/>
          </a:xfrm>
        </p:spPr>
        <p:txBody>
          <a:bodyPr/>
          <a:lstStyle/>
          <a:p>
            <a:r>
              <a:rPr lang="en-US" sz="6000" dirty="0">
                <a:solidFill>
                  <a:schemeClr val="bg1"/>
                </a:solidFill>
                <a:effectLst/>
              </a:rPr>
              <a:t>Behavioral Interviews</a:t>
            </a:r>
            <a:endParaRPr lang="en-US" sz="6000" dirty="0"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32" name="Slide Number Placeholder 7">
            <a:extLst>
              <a:ext uri="{FF2B5EF4-FFF2-40B4-BE49-F238E27FC236}">
                <a16:creationId xmlns:a16="http://schemas.microsoft.com/office/drawing/2014/main" id="{8E184D0D-8D7D-DC85-16CE-29949D56B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36904A8-22B9-C8AF-2BEB-45F5E594151E}"/>
              </a:ext>
            </a:extLst>
          </p:cNvPr>
          <p:cNvSpPr txBox="1">
            <a:spLocks/>
          </p:cNvSpPr>
          <p:nvPr/>
        </p:nvSpPr>
        <p:spPr>
          <a:xfrm>
            <a:off x="576072" y="1443688"/>
            <a:ext cx="18017274" cy="1504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3200" kern="0" dirty="0">
                <a:solidFill>
                  <a:schemeClr val="bg1"/>
                </a:solidFill>
                <a:latin typeface="+mn-lt"/>
              </a:rPr>
              <a:t>Focus is placed on a candidate’s past experiences by asking candidates to provide specific examples of how they have demonstrated certain behaviors, knowledge, skills, and abilities 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6FE457-A3FA-9F3D-78D5-C0EE20A92A65}"/>
              </a:ext>
            </a:extLst>
          </p:cNvPr>
          <p:cNvSpPr txBox="1">
            <a:spLocks/>
          </p:cNvSpPr>
          <p:nvPr/>
        </p:nvSpPr>
        <p:spPr>
          <a:xfrm>
            <a:off x="2314314" y="4232608"/>
            <a:ext cx="4114230" cy="12801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kern="0" dirty="0"/>
              <a:t>What do they tell the manager?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2A3869A-A899-AEF6-2B44-68B7A1FE0B43}"/>
              </a:ext>
            </a:extLst>
          </p:cNvPr>
          <p:cNvSpPr txBox="1">
            <a:spLocks/>
          </p:cNvSpPr>
          <p:nvPr/>
        </p:nvSpPr>
        <p:spPr>
          <a:xfrm>
            <a:off x="9985497" y="4271509"/>
            <a:ext cx="4096261" cy="12801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kern="0" dirty="0"/>
              <a:t>How are the questions asked?</a:t>
            </a:r>
            <a:endParaRPr lang="en-US" b="1" kern="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4400" kern="0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2D27AC3-0E15-7973-C46F-E4D7DDE98F81}"/>
              </a:ext>
            </a:extLst>
          </p:cNvPr>
          <p:cNvSpPr txBox="1">
            <a:spLocks/>
          </p:cNvSpPr>
          <p:nvPr/>
        </p:nvSpPr>
        <p:spPr>
          <a:xfrm>
            <a:off x="18656359" y="4271509"/>
            <a:ext cx="3492812" cy="15065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kern="0" dirty="0"/>
              <a:t>How to prepare for this format?</a:t>
            </a:r>
            <a:endParaRPr lang="en-US" b="1" kern="0" dirty="0">
              <a:solidFill>
                <a:schemeClr val="tx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87EE45-B19B-1840-38A8-DFC78AAC75E5}"/>
              </a:ext>
            </a:extLst>
          </p:cNvPr>
          <p:cNvCxnSpPr>
            <a:cxnSpLocks/>
          </p:cNvCxnSpPr>
          <p:nvPr/>
        </p:nvCxnSpPr>
        <p:spPr bwMode="auto">
          <a:xfrm>
            <a:off x="7841043" y="4024122"/>
            <a:ext cx="0" cy="81534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9BEED5-FBFD-6470-F848-EAEE784DF19A}"/>
              </a:ext>
            </a:extLst>
          </p:cNvPr>
          <p:cNvCxnSpPr>
            <a:cxnSpLocks/>
          </p:cNvCxnSpPr>
          <p:nvPr/>
        </p:nvCxnSpPr>
        <p:spPr bwMode="auto">
          <a:xfrm>
            <a:off x="16511906" y="3848100"/>
            <a:ext cx="0" cy="81534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624A26B2-8835-DEF5-A3DB-BE98D8665E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216" y="4232608"/>
            <a:ext cx="1280160" cy="128016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92AE37D-507A-80EE-B138-777F229E6C45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73191" y="4232608"/>
            <a:ext cx="1280160" cy="128016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56678059-338C-3EDC-B0AC-C33D269D1752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944053" y="4271509"/>
            <a:ext cx="1280160" cy="128016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2F8DB4E-2863-B8AC-68A3-26BD530F0774}"/>
              </a:ext>
            </a:extLst>
          </p:cNvPr>
          <p:cNvSpPr txBox="1">
            <a:spLocks/>
          </p:cNvSpPr>
          <p:nvPr/>
        </p:nvSpPr>
        <p:spPr>
          <a:xfrm>
            <a:off x="1320277" y="5953656"/>
            <a:ext cx="6102303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>
                <a:latin typeface="+mn-lt"/>
              </a:rPr>
              <a:t>Understanding how someone behaved in the past is an easy way to predict how they will perform in the future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B7E6D1-DFD7-1B89-130F-846D08872050}"/>
              </a:ext>
            </a:extLst>
          </p:cNvPr>
          <p:cNvSpPr txBox="1">
            <a:spLocks/>
          </p:cNvSpPr>
          <p:nvPr/>
        </p:nvSpPr>
        <p:spPr>
          <a:xfrm>
            <a:off x="9142435" y="5953656"/>
            <a:ext cx="6102303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/>
              <a:t>Questions typically begin with “Tell me about a time when or Describe a time when…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/>
              <a:t>An example: Tell me about a time you worked on a challenging team project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93E03A9-EF19-3329-30B0-6AA96A8EEA9F}"/>
              </a:ext>
            </a:extLst>
          </p:cNvPr>
          <p:cNvSpPr txBox="1">
            <a:spLocks/>
          </p:cNvSpPr>
          <p:nvPr/>
        </p:nvSpPr>
        <p:spPr>
          <a:xfrm>
            <a:off x="17351613" y="5778047"/>
            <a:ext cx="6102303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/>
              <a:t>Study the job description to understand what skills are important for this role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/>
              <a:t>Reflect on previous work, school projects, and your accomplishments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/>
              <a:t>Use the S.T.A.R. method to structure your answer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F6FE93D-9B2F-3983-5330-3E0F192413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942308" y="799716"/>
            <a:ext cx="1945944" cy="1945944"/>
          </a:xfrm>
          <a:prstGeom prst="rect">
            <a:avLst/>
          </a:prstGeom>
        </p:spPr>
      </p:pic>
      <p:sp>
        <p:nvSpPr>
          <p:cNvPr id="17" name="Footer Placeholder 6">
            <a:extLst>
              <a:ext uri="{FF2B5EF4-FFF2-40B4-BE49-F238E27FC236}">
                <a16:creationId xmlns:a16="http://schemas.microsoft.com/office/drawing/2014/main" id="{BF029651-5471-6981-B20C-28988C2CE7B0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1389278542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378C7911-844E-8F6B-E54C-1D056D643229}"/>
              </a:ext>
            </a:extLst>
          </p:cNvPr>
          <p:cNvSpPr/>
          <p:nvPr/>
        </p:nvSpPr>
        <p:spPr bwMode="auto">
          <a:xfrm>
            <a:off x="-1588" y="-15859"/>
            <a:ext cx="24387173" cy="3429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27B7D5-8ACD-16F6-C3F8-F43B2F6D0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1" y="576072"/>
            <a:ext cx="9409427" cy="1525588"/>
          </a:xfrm>
        </p:spPr>
        <p:txBody>
          <a:bodyPr/>
          <a:lstStyle/>
          <a:p>
            <a:r>
              <a:rPr lang="en-US" sz="6000" dirty="0">
                <a:solidFill>
                  <a:schemeClr val="bg1"/>
                </a:solidFill>
                <a:effectLst/>
              </a:rPr>
              <a:t>Behavioral Interviewing </a:t>
            </a:r>
            <a:endParaRPr lang="en-US" sz="6000" dirty="0"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32" name="Slide Number Placeholder 7">
            <a:extLst>
              <a:ext uri="{FF2B5EF4-FFF2-40B4-BE49-F238E27FC236}">
                <a16:creationId xmlns:a16="http://schemas.microsoft.com/office/drawing/2014/main" id="{8E184D0D-8D7D-DC85-16CE-29949D56B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36904A8-22B9-C8AF-2BEB-45F5E594151E}"/>
              </a:ext>
            </a:extLst>
          </p:cNvPr>
          <p:cNvSpPr txBox="1">
            <a:spLocks/>
          </p:cNvSpPr>
          <p:nvPr/>
        </p:nvSpPr>
        <p:spPr>
          <a:xfrm>
            <a:off x="576071" y="1651126"/>
            <a:ext cx="4178809" cy="11062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4000" kern="0" dirty="0">
                <a:solidFill>
                  <a:schemeClr val="bg1"/>
                </a:solidFill>
                <a:latin typeface="+mn-lt"/>
              </a:rPr>
              <a:t>S.T.A.R. Method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B7E6D1-DFD7-1B89-130F-846D08872050}"/>
              </a:ext>
            </a:extLst>
          </p:cNvPr>
          <p:cNvSpPr txBox="1">
            <a:spLocks/>
          </p:cNvSpPr>
          <p:nvPr/>
        </p:nvSpPr>
        <p:spPr>
          <a:xfrm>
            <a:off x="568324" y="4054840"/>
            <a:ext cx="21674329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b="1" kern="0" dirty="0"/>
              <a:t>S = Situation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kern="0" dirty="0"/>
              <a:t>Ask yourself, what was the problem? Be as specific as possibl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4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b="1" kern="0" dirty="0"/>
              <a:t>T = Task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kern="0" dirty="0"/>
              <a:t>Then, determine what the goal was – ask, what did you need to do? What was your role?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4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b="1" kern="0" dirty="0"/>
              <a:t>A = Action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kern="0" dirty="0"/>
              <a:t>Identify the specific steps you took to reach the goal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4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b="1" kern="0" dirty="0"/>
              <a:t>R = Result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kern="0" dirty="0"/>
              <a:t>Report the final outcom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kern="0" dirty="0"/>
              <a:t>This is the time to talk yourself u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4000" kern="0" dirty="0"/>
              <a:t>Take credit for what you accomplished, and if you can highlight multiple positives, even better!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pic>
        <p:nvPicPr>
          <p:cNvPr id="3" name="Graphic 2" descr="Group of people">
            <a:extLst>
              <a:ext uri="{FF2B5EF4-FFF2-40B4-BE49-F238E27FC236}">
                <a16:creationId xmlns:a16="http://schemas.microsoft.com/office/drawing/2014/main" id="{2979EE05-0AD8-3727-95A2-999FD71817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756752" y="0"/>
            <a:ext cx="3429001" cy="3429001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5538355-B070-2BA8-DE45-F0E93CD92A22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2327222901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378C7911-844E-8F6B-E54C-1D056D643229}"/>
              </a:ext>
            </a:extLst>
          </p:cNvPr>
          <p:cNvSpPr/>
          <p:nvPr/>
        </p:nvSpPr>
        <p:spPr bwMode="auto">
          <a:xfrm>
            <a:off x="-132305" y="-57737"/>
            <a:ext cx="24519480" cy="3429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27B7D5-8ACD-16F6-C3F8-F43B2F6D0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4" y="283782"/>
            <a:ext cx="5804408" cy="1525588"/>
          </a:xfrm>
        </p:spPr>
        <p:txBody>
          <a:bodyPr/>
          <a:lstStyle/>
          <a:p>
            <a:r>
              <a:rPr lang="en-US" sz="6000" dirty="0">
                <a:solidFill>
                  <a:schemeClr val="bg1"/>
                </a:solidFill>
                <a:effectLst/>
              </a:rPr>
              <a:t>Case Interviews </a:t>
            </a:r>
            <a:endParaRPr lang="en-US" sz="6000" dirty="0"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32" name="Slide Number Placeholder 7">
            <a:extLst>
              <a:ext uri="{FF2B5EF4-FFF2-40B4-BE49-F238E27FC236}">
                <a16:creationId xmlns:a16="http://schemas.microsoft.com/office/drawing/2014/main" id="{8E184D0D-8D7D-DC85-16CE-29949D56B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36904A8-22B9-C8AF-2BEB-45F5E594151E}"/>
              </a:ext>
            </a:extLst>
          </p:cNvPr>
          <p:cNvSpPr txBox="1">
            <a:spLocks/>
          </p:cNvSpPr>
          <p:nvPr/>
        </p:nvSpPr>
        <p:spPr>
          <a:xfrm>
            <a:off x="576072" y="1443688"/>
            <a:ext cx="17126712" cy="1504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3200" kern="0" dirty="0">
                <a:solidFill>
                  <a:schemeClr val="bg1"/>
                </a:solidFill>
                <a:latin typeface="+mn-lt"/>
              </a:rPr>
              <a:t>Case interviews simulate real life business problems. You will be presented with a hypothetical business scenario and asked to solve a specific problem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6FE457-A3FA-9F3D-78D5-C0EE20A92A65}"/>
              </a:ext>
            </a:extLst>
          </p:cNvPr>
          <p:cNvSpPr txBox="1">
            <a:spLocks/>
          </p:cNvSpPr>
          <p:nvPr/>
        </p:nvSpPr>
        <p:spPr>
          <a:xfrm>
            <a:off x="2314314" y="4232608"/>
            <a:ext cx="4114230" cy="12801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kern="0" dirty="0"/>
              <a:t>What do they tell the manager?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2A3869A-A899-AEF6-2B44-68B7A1FE0B43}"/>
              </a:ext>
            </a:extLst>
          </p:cNvPr>
          <p:cNvSpPr txBox="1">
            <a:spLocks/>
          </p:cNvSpPr>
          <p:nvPr/>
        </p:nvSpPr>
        <p:spPr>
          <a:xfrm>
            <a:off x="9985497" y="4271509"/>
            <a:ext cx="3876803" cy="12801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kern="0" dirty="0"/>
              <a:t>How are the questions asked?</a:t>
            </a:r>
            <a:endParaRPr lang="en-US" b="1" kern="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4400" kern="0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2D27AC3-0E15-7973-C46F-E4D7DDE98F81}"/>
              </a:ext>
            </a:extLst>
          </p:cNvPr>
          <p:cNvSpPr txBox="1">
            <a:spLocks/>
          </p:cNvSpPr>
          <p:nvPr/>
        </p:nvSpPr>
        <p:spPr>
          <a:xfrm>
            <a:off x="18656359" y="4271509"/>
            <a:ext cx="3492812" cy="15065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kern="0" dirty="0"/>
              <a:t>How to prepare for this format?</a:t>
            </a:r>
            <a:endParaRPr lang="en-US" b="1" kern="0" dirty="0">
              <a:solidFill>
                <a:schemeClr val="tx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87EE45-B19B-1840-38A8-DFC78AAC75E5}"/>
              </a:ext>
            </a:extLst>
          </p:cNvPr>
          <p:cNvCxnSpPr>
            <a:cxnSpLocks/>
          </p:cNvCxnSpPr>
          <p:nvPr/>
        </p:nvCxnSpPr>
        <p:spPr bwMode="auto">
          <a:xfrm>
            <a:off x="7841043" y="4024122"/>
            <a:ext cx="0" cy="81534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9BEED5-FBFD-6470-F848-EAEE784DF19A}"/>
              </a:ext>
            </a:extLst>
          </p:cNvPr>
          <p:cNvCxnSpPr>
            <a:cxnSpLocks/>
          </p:cNvCxnSpPr>
          <p:nvPr/>
        </p:nvCxnSpPr>
        <p:spPr bwMode="auto">
          <a:xfrm>
            <a:off x="16511906" y="3848100"/>
            <a:ext cx="0" cy="81534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059D6CBF-A1A8-319E-9942-BEF107A4E0D8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24A26B2-8835-DEF5-A3DB-BE98D8665E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216" y="4232608"/>
            <a:ext cx="1280160" cy="128016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92AE37D-507A-80EE-B138-777F229E6C45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73191" y="4232608"/>
            <a:ext cx="1280160" cy="128016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56678059-338C-3EDC-B0AC-C33D269D1752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944053" y="4271509"/>
            <a:ext cx="1280160" cy="128016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2F8DB4E-2863-B8AC-68A3-26BD530F0774}"/>
              </a:ext>
            </a:extLst>
          </p:cNvPr>
          <p:cNvSpPr txBox="1">
            <a:spLocks/>
          </p:cNvSpPr>
          <p:nvPr/>
        </p:nvSpPr>
        <p:spPr>
          <a:xfrm>
            <a:off x="1318887" y="5777634"/>
            <a:ext cx="6102303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Your use of analytical skills to evaluate situations and recommendations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3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Your ability to navigate new or undefined situations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3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Your innovation in ideating solution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3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Your ability to clearly articulate your approach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3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Your interpersonal skills when working with client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B7E6D1-DFD7-1B89-130F-846D08872050}"/>
              </a:ext>
            </a:extLst>
          </p:cNvPr>
          <p:cNvSpPr txBox="1">
            <a:spLocks/>
          </p:cNvSpPr>
          <p:nvPr/>
        </p:nvSpPr>
        <p:spPr>
          <a:xfrm>
            <a:off x="9142435" y="5952695"/>
            <a:ext cx="6102303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Will provide background information on a client challenge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3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Will ask for your recommendation in solving the client challenge and any information you may need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3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Often requires you to make assumptions or estimations and evaluate tradeoffs of approach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3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Will ask you to articulate and evaluate impact of your solution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93E03A9-EF19-3329-30B0-6AA96A8EEA9F}"/>
              </a:ext>
            </a:extLst>
          </p:cNvPr>
          <p:cNvSpPr txBox="1">
            <a:spLocks/>
          </p:cNvSpPr>
          <p:nvPr/>
        </p:nvSpPr>
        <p:spPr>
          <a:xfrm>
            <a:off x="17351613" y="5952695"/>
            <a:ext cx="6102303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Become comfortable in your delivery by practicing with another person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3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Determine a consistent method for structuring your responses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30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000" kern="0" dirty="0"/>
              <a:t>Be prepared to ask clarifying questions to fully understand the issue or the challenge/problem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F6FE93D-9B2F-3983-5330-3E0F192413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745663" y="105200"/>
            <a:ext cx="3408339" cy="3408339"/>
          </a:xfrm>
          <a:prstGeom prst="rect">
            <a:avLst/>
          </a:prstGeom>
        </p:spPr>
      </p:pic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F0D4CADD-F7EA-CA33-7D9C-4FCBCADC511F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2133548423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378C7911-844E-8F6B-E54C-1D056D643229}"/>
              </a:ext>
            </a:extLst>
          </p:cNvPr>
          <p:cNvSpPr/>
          <p:nvPr/>
        </p:nvSpPr>
        <p:spPr bwMode="auto">
          <a:xfrm>
            <a:off x="-1588" y="-15859"/>
            <a:ext cx="24387173" cy="3429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27B7D5-8ACD-16F6-C3F8-F43B2F6D0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1" y="576072"/>
            <a:ext cx="9409427" cy="1525588"/>
          </a:xfrm>
        </p:spPr>
        <p:txBody>
          <a:bodyPr/>
          <a:lstStyle/>
          <a:p>
            <a:r>
              <a:rPr lang="en-US" sz="6000" dirty="0">
                <a:solidFill>
                  <a:schemeClr val="bg1"/>
                </a:solidFill>
                <a:effectLst/>
              </a:rPr>
              <a:t>Case Interviewing </a:t>
            </a:r>
            <a:endParaRPr lang="en-US" sz="6000" dirty="0"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32" name="Slide Number Placeholder 7">
            <a:extLst>
              <a:ext uri="{FF2B5EF4-FFF2-40B4-BE49-F238E27FC236}">
                <a16:creationId xmlns:a16="http://schemas.microsoft.com/office/drawing/2014/main" id="{8E184D0D-8D7D-DC85-16CE-29949D56B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36904A8-22B9-C8AF-2BEB-45F5E594151E}"/>
              </a:ext>
            </a:extLst>
          </p:cNvPr>
          <p:cNvSpPr txBox="1">
            <a:spLocks/>
          </p:cNvSpPr>
          <p:nvPr/>
        </p:nvSpPr>
        <p:spPr>
          <a:xfrm>
            <a:off x="576071" y="1587317"/>
            <a:ext cx="12191998" cy="1504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4400" kern="0" dirty="0">
                <a:solidFill>
                  <a:schemeClr val="bg1"/>
                </a:solidFill>
                <a:latin typeface="+mn-lt"/>
              </a:rPr>
              <a:t>S.T.A.R. Method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B7E6D1-DFD7-1B89-130F-846D08872050}"/>
              </a:ext>
            </a:extLst>
          </p:cNvPr>
          <p:cNvSpPr txBox="1">
            <a:spLocks/>
          </p:cNvSpPr>
          <p:nvPr/>
        </p:nvSpPr>
        <p:spPr>
          <a:xfrm>
            <a:off x="576071" y="4424386"/>
            <a:ext cx="21674329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kern="0" dirty="0"/>
              <a:t>There is no right or wrong answer with case/situational interviews!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/>
              <a:t>Case interviews are used to determine and assess a candidate’s: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kern="0" dirty="0"/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kern="0" dirty="0"/>
              <a:t>Approach to a problem and how the candidate structures it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kern="0" dirty="0"/>
              <a:t>Thought process in articulating the steps needed to get a solution 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kern="0" dirty="0"/>
              <a:t>Ability to defend or provide proof of the recommended solution 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kern="0" dirty="0"/>
              <a:t>Communication and presentation style 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kern="0" dirty="0"/>
              <a:t>Analytical and technical skills 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kern="0" dirty="0"/>
              <a:t>Ability to draw conclusions from data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pic>
        <p:nvPicPr>
          <p:cNvPr id="3" name="Graphic 2" descr="Group of people">
            <a:extLst>
              <a:ext uri="{FF2B5EF4-FFF2-40B4-BE49-F238E27FC236}">
                <a16:creationId xmlns:a16="http://schemas.microsoft.com/office/drawing/2014/main" id="{2979EE05-0AD8-3727-95A2-999FD71817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119140" y="8639496"/>
            <a:ext cx="4422452" cy="4422452"/>
          </a:xfrm>
          <a:prstGeom prst="rect">
            <a:avLst/>
          </a:prstGeom>
        </p:spPr>
      </p:pic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44BB7DEE-6236-65B7-B634-EFC7DD0DDAA7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30629305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378C7911-844E-8F6B-E54C-1D056D643229}"/>
              </a:ext>
            </a:extLst>
          </p:cNvPr>
          <p:cNvSpPr/>
          <p:nvPr/>
        </p:nvSpPr>
        <p:spPr bwMode="auto">
          <a:xfrm>
            <a:off x="-1588" y="-15859"/>
            <a:ext cx="24387173" cy="3429000"/>
          </a:xfrm>
          <a:prstGeom prst="rect">
            <a:avLst/>
          </a:prstGeom>
          <a:solidFill>
            <a:srgbClr val="1192E8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27B7D5-8ACD-16F6-C3F8-F43B2F6D0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1" y="576072"/>
            <a:ext cx="8369145" cy="1525588"/>
          </a:xfrm>
        </p:spPr>
        <p:txBody>
          <a:bodyPr/>
          <a:lstStyle/>
          <a:p>
            <a:r>
              <a:rPr lang="en-US" sz="6000" dirty="0">
                <a:solidFill>
                  <a:schemeClr val="bg1"/>
                </a:solidFill>
                <a:effectLst/>
              </a:rPr>
              <a:t>Technical Interviews</a:t>
            </a:r>
            <a:endParaRPr lang="en-US" sz="6000" dirty="0"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32" name="Slide Number Placeholder 7">
            <a:extLst>
              <a:ext uri="{FF2B5EF4-FFF2-40B4-BE49-F238E27FC236}">
                <a16:creationId xmlns:a16="http://schemas.microsoft.com/office/drawing/2014/main" id="{8E184D0D-8D7D-DC85-16CE-29949D56B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36904A8-22B9-C8AF-2BEB-45F5E594151E}"/>
              </a:ext>
            </a:extLst>
          </p:cNvPr>
          <p:cNvSpPr txBox="1">
            <a:spLocks/>
          </p:cNvSpPr>
          <p:nvPr/>
        </p:nvSpPr>
        <p:spPr>
          <a:xfrm>
            <a:off x="597216" y="1692164"/>
            <a:ext cx="15702197" cy="1504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800" kern="0" dirty="0">
                <a:solidFill>
                  <a:schemeClr val="bg1"/>
                </a:solidFill>
                <a:latin typeface="+mn-lt"/>
              </a:rPr>
              <a:t>Technical interviews are essential to assessing a candidate’s technical abilities, method of problem solving, communication, and their response under pressure. 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F6FE457-A3FA-9F3D-78D5-C0EE20A92A65}"/>
              </a:ext>
            </a:extLst>
          </p:cNvPr>
          <p:cNvSpPr txBox="1">
            <a:spLocks/>
          </p:cNvSpPr>
          <p:nvPr/>
        </p:nvSpPr>
        <p:spPr>
          <a:xfrm>
            <a:off x="2314314" y="4232608"/>
            <a:ext cx="4114230" cy="12801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kern="0" dirty="0"/>
              <a:t>What do they tell the manager?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2A3869A-A899-AEF6-2B44-68B7A1FE0B43}"/>
              </a:ext>
            </a:extLst>
          </p:cNvPr>
          <p:cNvSpPr txBox="1">
            <a:spLocks/>
          </p:cNvSpPr>
          <p:nvPr/>
        </p:nvSpPr>
        <p:spPr>
          <a:xfrm>
            <a:off x="9985497" y="4271509"/>
            <a:ext cx="3859703" cy="12801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kern="0" dirty="0"/>
              <a:t>How are the questions asked?</a:t>
            </a:r>
            <a:endParaRPr lang="en-US" b="1" kern="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4400" kern="0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2D27AC3-0E15-7973-C46F-E4D7DDE98F81}"/>
              </a:ext>
            </a:extLst>
          </p:cNvPr>
          <p:cNvSpPr txBox="1">
            <a:spLocks/>
          </p:cNvSpPr>
          <p:nvPr/>
        </p:nvSpPr>
        <p:spPr>
          <a:xfrm>
            <a:off x="18656359" y="4271509"/>
            <a:ext cx="3492812" cy="15065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kern="0" dirty="0"/>
              <a:t>How to prepare for this format?</a:t>
            </a:r>
            <a:endParaRPr lang="en-US" b="1" kern="0" dirty="0">
              <a:solidFill>
                <a:schemeClr val="tx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87EE45-B19B-1840-38A8-DFC78AAC75E5}"/>
              </a:ext>
            </a:extLst>
          </p:cNvPr>
          <p:cNvCxnSpPr>
            <a:cxnSpLocks/>
          </p:cNvCxnSpPr>
          <p:nvPr/>
        </p:nvCxnSpPr>
        <p:spPr bwMode="auto">
          <a:xfrm>
            <a:off x="7841043" y="4024122"/>
            <a:ext cx="0" cy="81534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9BEED5-FBFD-6470-F848-EAEE784DF19A}"/>
              </a:ext>
            </a:extLst>
          </p:cNvPr>
          <p:cNvCxnSpPr>
            <a:cxnSpLocks/>
          </p:cNvCxnSpPr>
          <p:nvPr/>
        </p:nvCxnSpPr>
        <p:spPr bwMode="auto">
          <a:xfrm>
            <a:off x="16511906" y="3848100"/>
            <a:ext cx="0" cy="81534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624A26B2-8835-DEF5-A3DB-BE98D8665E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216" y="4232608"/>
            <a:ext cx="1280160" cy="128016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92AE37D-507A-80EE-B138-777F229E6C45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73191" y="4232608"/>
            <a:ext cx="1280160" cy="128016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56678059-338C-3EDC-B0AC-C33D269D1752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944053" y="4271509"/>
            <a:ext cx="1280160" cy="128016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2F8DB4E-2863-B8AC-68A3-26BD530F0774}"/>
              </a:ext>
            </a:extLst>
          </p:cNvPr>
          <p:cNvSpPr txBox="1">
            <a:spLocks/>
          </p:cNvSpPr>
          <p:nvPr/>
        </p:nvSpPr>
        <p:spPr>
          <a:xfrm>
            <a:off x="1318887" y="5799970"/>
            <a:ext cx="6102303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/>
              <a:t>Shows managers how candidates tackle real-world problems using their technical, critical thinking, and problem-solving skill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B7E6D1-DFD7-1B89-130F-846D08872050}"/>
              </a:ext>
            </a:extLst>
          </p:cNvPr>
          <p:cNvSpPr txBox="1">
            <a:spLocks/>
          </p:cNvSpPr>
          <p:nvPr/>
        </p:nvSpPr>
        <p:spPr>
          <a:xfrm>
            <a:off x="9140846" y="5799970"/>
            <a:ext cx="6102303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/>
              <a:t>Questions may come in the form of: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kern="0" dirty="0"/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en-US" kern="0" dirty="0"/>
              <a:t>Brain teasers 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en-US" kern="0" dirty="0"/>
              <a:t>Numerical reasoning problems 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en-US" kern="0" dirty="0"/>
              <a:t>Technical assessment problem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93E03A9-EF19-3329-30B0-6AA96A8EEA9F}"/>
              </a:ext>
            </a:extLst>
          </p:cNvPr>
          <p:cNvSpPr txBox="1">
            <a:spLocks/>
          </p:cNvSpPr>
          <p:nvPr/>
        </p:nvSpPr>
        <p:spPr>
          <a:xfrm>
            <a:off x="17351613" y="5799970"/>
            <a:ext cx="6102303" cy="622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/>
              <a:t>Use online resources to practice coding, building frameworks, or your data analysis skills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kern="0" dirty="0"/>
              <a:t>Familiarize yourself with emerging technology trend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F6FE93D-9B2F-3983-5330-3E0F192413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372609" y="549313"/>
            <a:ext cx="3081307" cy="3081307"/>
          </a:xfrm>
          <a:prstGeom prst="rect">
            <a:avLst/>
          </a:prstGeom>
        </p:spPr>
      </p:pic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D258552A-B5EA-9909-2A62-96EEA25682F7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1418462672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378C7911-844E-8F6B-E54C-1D056D643229}"/>
              </a:ext>
            </a:extLst>
          </p:cNvPr>
          <p:cNvSpPr/>
          <p:nvPr/>
        </p:nvSpPr>
        <p:spPr bwMode="auto">
          <a:xfrm>
            <a:off x="-1588" y="-15859"/>
            <a:ext cx="24387173" cy="3429000"/>
          </a:xfrm>
          <a:prstGeom prst="rect">
            <a:avLst/>
          </a:prstGeom>
          <a:solidFill>
            <a:srgbClr val="1192E8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27B7D5-8ACD-16F6-C3F8-F43B2F6D0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1" y="576072"/>
            <a:ext cx="9409427" cy="1525588"/>
          </a:xfrm>
        </p:spPr>
        <p:txBody>
          <a:bodyPr/>
          <a:lstStyle/>
          <a:p>
            <a:r>
              <a:rPr lang="en-US" sz="6000" dirty="0">
                <a:solidFill>
                  <a:schemeClr val="bg1"/>
                </a:solidFill>
                <a:effectLst/>
              </a:rPr>
              <a:t>Technical Interviewing </a:t>
            </a:r>
            <a:endParaRPr lang="en-US" sz="6000" dirty="0"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32" name="Slide Number Placeholder 7">
            <a:extLst>
              <a:ext uri="{FF2B5EF4-FFF2-40B4-BE49-F238E27FC236}">
                <a16:creationId xmlns:a16="http://schemas.microsoft.com/office/drawing/2014/main" id="{8E184D0D-8D7D-DC85-16CE-29949D56B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36904A8-22B9-C8AF-2BEB-45F5E594151E}"/>
              </a:ext>
            </a:extLst>
          </p:cNvPr>
          <p:cNvSpPr txBox="1">
            <a:spLocks/>
          </p:cNvSpPr>
          <p:nvPr/>
        </p:nvSpPr>
        <p:spPr>
          <a:xfrm>
            <a:off x="576071" y="1587317"/>
            <a:ext cx="12191998" cy="1504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>
              <a:spcBef>
                <a:spcPts val="0"/>
              </a:spcBef>
            </a:pPr>
            <a:endParaRPr lang="en-US" sz="480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059D6CBF-A1A8-319E-9942-BEF107A4E0D8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B7E6D1-DFD7-1B89-130F-846D08872050}"/>
              </a:ext>
            </a:extLst>
          </p:cNvPr>
          <p:cNvSpPr txBox="1">
            <a:spLocks/>
          </p:cNvSpPr>
          <p:nvPr/>
        </p:nvSpPr>
        <p:spPr>
          <a:xfrm>
            <a:off x="576071" y="4424385"/>
            <a:ext cx="21674329" cy="83798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t"/>
          <a:lstStyle>
            <a:lvl1pPr marL="0" marR="0" indent="0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444465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1591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01671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076298" marR="0" indent="-446749" algn="l" defTabSz="2438400" rtl="0" latinLnBrk="0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latinLnBrk="0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en-US" kern="0" dirty="0"/>
              <a:t>Find out what technical assessment platform the company you’re interviewing with uses and familiarize yourself ahead of time </a:t>
            </a:r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endParaRPr lang="en-US" kern="0" dirty="0"/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en-US" kern="0" dirty="0"/>
              <a:t>Practice on your coding skills; </a:t>
            </a:r>
            <a:r>
              <a:rPr lang="en-US" kern="0" dirty="0" err="1"/>
              <a:t>Leetcode</a:t>
            </a:r>
            <a:r>
              <a:rPr lang="en-US" kern="0" dirty="0"/>
              <a:t> is a good source with a robust offering of questions </a:t>
            </a:r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endParaRPr lang="en-US" kern="0" dirty="0"/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en-US" kern="0" dirty="0"/>
              <a:t>Learn about data structures &amp; algorithms </a:t>
            </a:r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endParaRPr lang="en-US" kern="0" dirty="0"/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en-US" kern="0" dirty="0"/>
              <a:t>Understand tech fundamentals </a:t>
            </a:r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endParaRPr lang="en-US" kern="0" dirty="0"/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en-US" kern="0" dirty="0"/>
              <a:t>Pick one or two programming languages and know them very well </a:t>
            </a:r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endParaRPr lang="en-US" kern="0" dirty="0"/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en-US" kern="0" dirty="0"/>
              <a:t>Prepare for onsite interview/whiteboarding/coding challenges </a:t>
            </a:r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endParaRPr lang="en-US" kern="0" dirty="0"/>
          </a:p>
          <a:p>
            <a:pPr marL="571500" indent="-571500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en-US" kern="0" dirty="0"/>
              <a:t>For any remote coding interviews/assignments, ensure that you have uninterrupted internet connectivity during the interview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kern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800" i="1" kern="0" dirty="0"/>
          </a:p>
        </p:txBody>
      </p:sp>
      <p:pic>
        <p:nvPicPr>
          <p:cNvPr id="3" name="Graphic 2" descr="Group of people">
            <a:extLst>
              <a:ext uri="{FF2B5EF4-FFF2-40B4-BE49-F238E27FC236}">
                <a16:creationId xmlns:a16="http://schemas.microsoft.com/office/drawing/2014/main" id="{2979EE05-0AD8-3727-95A2-999FD71817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633369" y="96980"/>
            <a:ext cx="3429001" cy="3429001"/>
          </a:xfrm>
          <a:prstGeom prst="rect">
            <a:avLst/>
          </a:prstGeom>
        </p:spPr>
      </p:pic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F9344468-4C73-4BA4-D3DF-29CFFBD2BA98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1969964783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86434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8BE1CB7C-843C-4B75-7035-D2DC2033FA7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66" r="6066"/>
          <a:stretch/>
        </p:blipFill>
        <p:spPr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CFC354B-4A6C-AA98-76F4-3A098B9C4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6" y="569913"/>
            <a:ext cx="12188824" cy="9337675"/>
          </a:xfrm>
        </p:spPr>
        <p:txBody>
          <a:bodyPr/>
          <a:lstStyle/>
          <a:p>
            <a:r>
              <a:rPr lang="en-US" sz="9500" b="1" dirty="0"/>
              <a:t>Thank You!</a:t>
            </a:r>
            <a:br>
              <a:rPr lang="en-US" dirty="0"/>
            </a:br>
            <a:br>
              <a:rPr lang="en-US" dirty="0"/>
            </a:br>
            <a:r>
              <a:rPr lang="en-US" sz="4800" dirty="0"/>
              <a:t>Next Foundational Skills Session: </a:t>
            </a:r>
            <a:br>
              <a:rPr lang="en-US" sz="4800" dirty="0"/>
            </a:br>
            <a:br>
              <a:rPr lang="en-US" sz="4800" dirty="0"/>
            </a:br>
            <a:br>
              <a:rPr lang="en-US" sz="4800" dirty="0"/>
            </a:br>
            <a:r>
              <a:rPr lang="en-US" sz="4800" dirty="0"/>
              <a:t>Monday, July 8</a:t>
            </a:r>
            <a:r>
              <a:rPr lang="en-US" sz="4800" baseline="30000" dirty="0"/>
              <a:t>th</a:t>
            </a:r>
            <a:r>
              <a:rPr lang="en-US" sz="4800" dirty="0"/>
              <a:t> </a:t>
            </a:r>
            <a:br>
              <a:rPr lang="en-US" sz="4800" dirty="0"/>
            </a:br>
            <a:r>
              <a:rPr lang="en-US" sz="4800" b="1" dirty="0"/>
              <a:t>Bringing Your Whole Self to Work      </a:t>
            </a:r>
            <a:r>
              <a:rPr lang="en-US" sz="4000" b="1" i="1" dirty="0"/>
              <a:t>Importance of Mental Health &amp; Imposter Syndrome</a:t>
            </a:r>
            <a:br>
              <a:rPr lang="en-US" sz="4800" dirty="0"/>
            </a:br>
            <a:br>
              <a:rPr lang="en-US" sz="4800" dirty="0"/>
            </a:br>
            <a:br>
              <a:rPr lang="en-US" sz="4800" dirty="0"/>
            </a:br>
            <a:r>
              <a:rPr lang="en-US" sz="4800" dirty="0"/>
              <a:t>See you then!</a:t>
            </a:r>
            <a:endParaRPr lang="en-US" dirty="0"/>
          </a:p>
        </p:txBody>
      </p:sp>
      <p:pic>
        <p:nvPicPr>
          <p:cNvPr id="5" name="Content Placeholder 10" descr="A group of people sitting on orange couches&#10;&#10;Description automatically generated with medium confidence">
            <a:extLst>
              <a:ext uri="{FF2B5EF4-FFF2-40B4-BE49-F238E27FC236}">
                <a16:creationId xmlns:a16="http://schemas.microsoft.com/office/drawing/2014/main" id="{E416D8A8-176B-23E6-7880-7AEDDD176DD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63500" y="569912"/>
            <a:ext cx="11049000" cy="12566225"/>
          </a:xfrm>
          <a:prstGeom prst="rect">
            <a:avLst/>
          </a:prstGeom>
          <a:solidFill>
            <a:srgbClr val="E0E0E0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</p:pic>
    </p:spTree>
    <p:extLst>
      <p:ext uri="{BB962C8B-B14F-4D97-AF65-F5344CB8AC3E}">
        <p14:creationId xmlns:p14="http://schemas.microsoft.com/office/powerpoint/2010/main" val="2407275163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265D9-C077-F215-1A9B-843F11C8E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1" y="384048"/>
            <a:ext cx="14785849" cy="1706009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Announcements: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146261-C82C-E4F3-88F2-64AB983BF1DA}"/>
              </a:ext>
            </a:extLst>
          </p:cNvPr>
          <p:cNvSpPr txBox="1"/>
          <p:nvPr/>
        </p:nvSpPr>
        <p:spPr>
          <a:xfrm>
            <a:off x="576071" y="2332006"/>
            <a:ext cx="21449740" cy="102302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r>
              <a:rPr lang="en-US" kern="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Ten Thousand Coffees matches resume next week!</a:t>
            </a:r>
          </a:p>
          <a:p>
            <a:pPr marL="2273844" lvl="2" indent="-446749" defTabSz="2438400">
              <a:spcBef>
                <a:spcPts val="2900"/>
              </a:spcBef>
              <a:buSzPct val="100000"/>
              <a:buFontTx/>
              <a:buChar char="–"/>
            </a:pPr>
            <a:r>
              <a:rPr lang="en-US" sz="2800" strike="sngStrike" kern="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June 17</a:t>
            </a:r>
            <a:r>
              <a:rPr lang="en-US" sz="2800" strike="sngStrike" kern="0" baseline="3000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th</a:t>
            </a:r>
            <a:endParaRPr lang="en-US" sz="2800" strike="sngStrike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  <a:p>
            <a:pPr marL="2273844" lvl="2" indent="-446749" defTabSz="2438400">
              <a:spcBef>
                <a:spcPts val="2900"/>
              </a:spcBef>
              <a:buSzPct val="100000"/>
              <a:buFontTx/>
              <a:buChar char="–"/>
            </a:pPr>
            <a:r>
              <a:rPr lang="en-US" sz="2800" strike="sngStrike" kern="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June 24</a:t>
            </a:r>
            <a:r>
              <a:rPr lang="en-US" sz="2800" strike="sngStrike" kern="0" baseline="3000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th</a:t>
            </a:r>
            <a:endParaRPr lang="en-US" sz="2800" strike="sngStrike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  <a:p>
            <a:pPr marL="2273844" lvl="2" indent="-446749" defTabSz="2438400">
              <a:spcBef>
                <a:spcPts val="2900"/>
              </a:spcBef>
              <a:buSzPct val="100000"/>
              <a:buFontTx/>
              <a:buChar char="–"/>
            </a:pPr>
            <a:r>
              <a:rPr lang="en-US" sz="2800" kern="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July 8</a:t>
            </a:r>
            <a:r>
              <a:rPr lang="en-US" sz="2800" kern="0" baseline="3000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th</a:t>
            </a:r>
            <a:r>
              <a:rPr lang="en-US" sz="2800" kern="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 </a:t>
            </a:r>
          </a:p>
          <a:p>
            <a:pPr marL="2273844" lvl="2" indent="-446749" defTabSz="2438400">
              <a:spcBef>
                <a:spcPts val="2900"/>
              </a:spcBef>
              <a:buSzPct val="100000"/>
              <a:buFontTx/>
              <a:buChar char="–"/>
            </a:pPr>
            <a:r>
              <a:rPr lang="en-US" sz="2800" kern="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July 15</a:t>
            </a:r>
            <a:r>
              <a:rPr lang="en-US" sz="2800" kern="0" baseline="3000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th</a:t>
            </a:r>
            <a:r>
              <a:rPr lang="en-US" sz="2800" kern="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 </a:t>
            </a:r>
          </a:p>
          <a:p>
            <a:pPr marL="443865" indent="-446405" defTabSz="2438400">
              <a:spcBef>
                <a:spcPts val="2900"/>
              </a:spcBef>
              <a:buSzPct val="100000"/>
              <a:buFontTx/>
              <a:buChar char="–"/>
            </a:pPr>
            <a:r>
              <a:rPr lang="en-US" kern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Sign up for resume reviews</a:t>
            </a:r>
            <a:endParaRPr lang="en-US" kern="0">
              <a:solidFill>
                <a:srgbClr val="000000"/>
              </a:solidFill>
              <a:ea typeface="+mj-ea"/>
              <a:cs typeface="+mj-cs"/>
            </a:endParaRPr>
          </a:p>
          <a:p>
            <a:pPr marL="443865" indent="-446405" defTabSz="2438400">
              <a:spcBef>
                <a:spcPts val="2900"/>
              </a:spcBef>
              <a:buSzPct val="100000"/>
              <a:buFontTx/>
              <a:buChar char="–"/>
            </a:pPr>
            <a:r>
              <a:rPr lang="en-US" kern="0" dirty="0">
                <a:solidFill>
                  <a:srgbClr val="000000"/>
                </a:solidFill>
                <a:ea typeface="+mj-ea"/>
                <a:cs typeface="+mj-cs"/>
                <a:sym typeface="IBM Plex Sans Light"/>
              </a:rPr>
              <a:t>Submit</a:t>
            </a:r>
            <a:r>
              <a:rPr lang="en-US" kern="0" dirty="0">
                <a:solidFill>
                  <a:srgbClr val="000000"/>
                </a:solidFill>
                <a:ea typeface="+mn-lt"/>
                <a:cs typeface="+mn-lt"/>
              </a:rPr>
              <a:t> questions for Ask Me Anything alumni panel discussion via Slack</a:t>
            </a:r>
            <a:endParaRPr lang="en-US" kern="0" dirty="0">
              <a:solidFill>
                <a:srgbClr val="000000"/>
              </a:solidFill>
              <a:ea typeface="+mj-ea"/>
              <a:cs typeface="+mj-cs"/>
            </a:endParaRPr>
          </a:p>
          <a:p>
            <a:pPr marL="443865" indent="-446405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555D297A-A514-7F38-1C48-59E1C36C9E46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191080788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6" name="IBM_Inspired_Pivot_3D_03_crop02_1920x1080.jpg" descr="IBM_Inspired_Pivot_3D_03_crop02_1920x1080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" y="0"/>
            <a:ext cx="24384000" cy="1371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B06B20D-DD11-6186-17A0-EEC913DBDB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9951" y="12526963"/>
            <a:ext cx="1638300" cy="609600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1422D61-3AB5-97A9-E081-9D29E9480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824" y="200888"/>
            <a:ext cx="11045952" cy="1145235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8800" dirty="0">
                <a:solidFill>
                  <a:schemeClr val="tx2"/>
                </a:solidFill>
                <a:latin typeface="+mn-lt"/>
                <a:cs typeface="Arial"/>
              </a:rPr>
              <a:t>Preparing for My Interview</a:t>
            </a:r>
            <a:br>
              <a:rPr lang="en-US" dirty="0">
                <a:solidFill>
                  <a:schemeClr val="tx2"/>
                </a:solidFill>
              </a:rPr>
            </a:br>
            <a:br>
              <a:rPr lang="en-US" dirty="0"/>
            </a:br>
            <a:r>
              <a:rPr lang="en-US" sz="3600" i="1" dirty="0">
                <a:cs typeface="Arial"/>
              </a:rPr>
              <a:t>Equipping you with key tactics and effective     strategies for interview preparedness</a:t>
            </a:r>
            <a:br>
              <a:rPr lang="en-US" i="1" dirty="0"/>
            </a:br>
            <a:br>
              <a:rPr lang="en-US" dirty="0"/>
            </a:b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81D265-8FBE-72B7-8D00-1C13BB1FF094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62419" y="536449"/>
            <a:ext cx="11045952" cy="1855059"/>
          </a:xfrm>
        </p:spPr>
        <p:txBody>
          <a:bodyPr/>
          <a:lstStyle/>
          <a:p>
            <a:r>
              <a:rPr lang="en-US" sz="7200" dirty="0">
                <a:solidFill>
                  <a:schemeClr val="tx1"/>
                </a:solidFill>
              </a:rPr>
              <a:t>Intro Slide</a:t>
            </a:r>
            <a:br>
              <a:rPr lang="en-US" sz="7200" dirty="0">
                <a:solidFill>
                  <a:schemeClr val="tx1"/>
                </a:solidFill>
              </a:rPr>
            </a:br>
            <a:r>
              <a:rPr lang="en-US" sz="7200" dirty="0">
                <a:solidFill>
                  <a:schemeClr val="tx1"/>
                </a:solidFill>
              </a:rPr>
              <a:t>—</a:t>
            </a:r>
            <a:br>
              <a:rPr lang="en-US" sz="7200" dirty="0">
                <a:solidFill>
                  <a:schemeClr val="tx1"/>
                </a:solidFill>
              </a:rPr>
            </a:br>
            <a:endParaRPr lang="en-US" sz="7200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3191EA-B8CE-CC73-4B12-5083B53D1199}"/>
              </a:ext>
            </a:extLst>
          </p:cNvPr>
          <p:cNvSpPr txBox="1"/>
          <p:nvPr/>
        </p:nvSpPr>
        <p:spPr>
          <a:xfrm>
            <a:off x="2463664" y="2956145"/>
            <a:ext cx="4246693" cy="2277547"/>
          </a:xfrm>
          <a:prstGeom prst="rect">
            <a:avLst/>
          </a:prstGeom>
          <a:noFill/>
        </p:spPr>
        <p:txBody>
          <a:bodyPr wrap="square" lIns="243840" tIns="121920" rIns="243840" bIns="121920" anchor="t">
            <a:spAutoFit/>
          </a:bodyPr>
          <a:lstStyle/>
          <a:p>
            <a:pPr algn="ctr"/>
            <a:r>
              <a:rPr lang="en-US" b="1" dirty="0"/>
              <a:t>Mike </a:t>
            </a:r>
            <a:r>
              <a:rPr lang="en-US" b="1" dirty="0" err="1"/>
              <a:t>Zeck</a:t>
            </a:r>
            <a:r>
              <a:rPr lang="en-US" b="1" dirty="0"/>
              <a:t> </a:t>
            </a:r>
          </a:p>
          <a:p>
            <a:pPr algn="ctr"/>
            <a:r>
              <a:rPr lang="en-US" sz="3200" dirty="0"/>
              <a:t>Recruiter, Entry Level Hire, IBM Consulting Feder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AE1C4D-BF90-BBAD-DC76-1FC7481A840E}"/>
              </a:ext>
            </a:extLst>
          </p:cNvPr>
          <p:cNvSpPr txBox="1"/>
          <p:nvPr/>
        </p:nvSpPr>
        <p:spPr>
          <a:xfrm>
            <a:off x="15860927" y="3024493"/>
            <a:ext cx="5465893" cy="2277547"/>
          </a:xfrm>
          <a:prstGeom prst="rect">
            <a:avLst/>
          </a:prstGeom>
          <a:noFill/>
        </p:spPr>
        <p:txBody>
          <a:bodyPr wrap="square" lIns="243840" tIns="121920" rIns="243840" bIns="121920" anchor="t">
            <a:spAutoFit/>
          </a:bodyPr>
          <a:lstStyle/>
          <a:p>
            <a:pPr algn="ctr"/>
            <a:r>
              <a:rPr lang="en-US" b="1" dirty="0"/>
              <a:t>Baaba Forster-Forson</a:t>
            </a:r>
          </a:p>
          <a:p>
            <a:pPr algn="ctr"/>
            <a:r>
              <a:rPr lang="en-US" sz="3200" dirty="0">
                <a:ea typeface="+mn-lt"/>
                <a:cs typeface="+mn-lt"/>
              </a:rPr>
              <a:t>Sr. Engineering Manager, Cryptography Firmware Dev. &amp; Integration</a:t>
            </a:r>
            <a:endParaRPr lang="en-US" sz="3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6BBE5C-E229-8972-8B7B-2366721C9D1A}"/>
              </a:ext>
            </a:extLst>
          </p:cNvPr>
          <p:cNvSpPr txBox="1"/>
          <p:nvPr/>
        </p:nvSpPr>
        <p:spPr>
          <a:xfrm>
            <a:off x="8189625" y="3024493"/>
            <a:ext cx="6837493" cy="1785104"/>
          </a:xfrm>
          <a:prstGeom prst="rect">
            <a:avLst/>
          </a:prstGeom>
          <a:noFill/>
        </p:spPr>
        <p:txBody>
          <a:bodyPr wrap="square" lIns="243840" tIns="121920" rIns="243840" bIns="121920" anchor="t">
            <a:spAutoFit/>
          </a:bodyPr>
          <a:lstStyle/>
          <a:p>
            <a:pPr algn="ctr"/>
            <a:r>
              <a:rPr lang="en-US" b="1" dirty="0"/>
              <a:t>Andrea Levy</a:t>
            </a:r>
          </a:p>
          <a:p>
            <a:pPr algn="ctr"/>
            <a:r>
              <a:rPr lang="en-US" sz="3200" dirty="0"/>
              <a:t>Sr. Managing Consultant,               FS Wealth Management</a:t>
            </a:r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10106BC5-1514-2D85-2E2B-14BAEAB902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1997" y="5391135"/>
            <a:ext cx="4543752" cy="454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C532B1AF-13AA-B265-9DAD-A31CA3937D08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F8F2ED-3DA6-FC64-EF3D-649876710B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0993" y="5302040"/>
            <a:ext cx="4632847" cy="46328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4DFE3E3-3E0C-980D-00AB-1B27A872C1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36495" y="5302040"/>
            <a:ext cx="4632847" cy="4632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2468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/>
          <p:cNvSpPr>
            <a:spLocks noGrp="1"/>
          </p:cNvSpPr>
          <p:nvPr>
            <p:ph type="title"/>
          </p:nvPr>
        </p:nvSpPr>
        <p:spPr>
          <a:xfrm>
            <a:off x="562422" y="536448"/>
            <a:ext cx="5143680" cy="11452352"/>
          </a:xfrm>
        </p:spPr>
        <p:txBody>
          <a:bodyPr/>
          <a:lstStyle/>
          <a:p>
            <a:pPr defTabSz="2438460"/>
            <a:r>
              <a:rPr lang="en-US" sz="8800" dirty="0"/>
              <a:t>Key Concepts</a:t>
            </a:r>
            <a:br>
              <a:rPr lang="en-US" sz="8800" dirty="0">
                <a:latin typeface="IBM Plex Sans" panose="020B0503050203000203" pitchFamily="34" charset="0"/>
                <a:ea typeface=""/>
              </a:rPr>
            </a:br>
            <a:r>
              <a:rPr lang="en-US" sz="8800" dirty="0">
                <a:latin typeface="IBM Plex Sans" panose="020B0503050203000203" pitchFamily="34" charset="0"/>
                <a:ea typeface=""/>
              </a:rPr>
              <a:t>—</a:t>
            </a:r>
            <a:br>
              <a:rPr lang="en-US" sz="8800" dirty="0">
                <a:latin typeface="IBM Plex Sans" panose="020B0503050203000203" pitchFamily="34" charset="0"/>
                <a:ea typeface=""/>
              </a:rPr>
            </a:br>
            <a:br>
              <a:rPr lang="en-US" sz="8800" dirty="0">
                <a:latin typeface="IBM Plex Sans" panose="020B0503050203000203" pitchFamily="34" charset="0"/>
                <a:ea typeface=""/>
              </a:rPr>
            </a:br>
            <a:br>
              <a:rPr lang="en-US" sz="8800" dirty="0">
                <a:latin typeface="IBM Plex Sans" panose="020B0503050203000203" pitchFamily="34" charset="0"/>
                <a:ea typeface=""/>
              </a:rPr>
            </a:br>
            <a:endParaRPr lang="en-US" sz="8800" dirty="0">
              <a:latin typeface="IBM Plex Sans" panose="020B0503050203000203" pitchFamily="34" charset="0"/>
            </a:endParaRPr>
          </a:p>
        </p:txBody>
      </p:sp>
      <p:sp>
        <p:nvSpPr>
          <p:cNvPr id="2" name="Slide Number Placeholder">
            <a:extLst>
              <a:ext uri="{FF2B5EF4-FFF2-40B4-BE49-F238E27FC236}">
                <a16:creationId xmlns:a16="http://schemas.microsoft.com/office/drawing/2014/main" id="{6E6D41C9-CF95-274C-BAC8-52C0566014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3689069" y="12938760"/>
            <a:ext cx="123431" cy="246221"/>
          </a:xfrm>
        </p:spPr>
        <p:txBody>
          <a:bodyPr/>
          <a:lstStyle/>
          <a:p>
            <a:fld id="{59395FB3-9C97-154F-86B2-7E381B951268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5" name="Group 1" descr="4-connected puzzle pieces with text boxes">
            <a:extLst>
              <a:ext uri="{FF2B5EF4-FFF2-40B4-BE49-F238E27FC236}">
                <a16:creationId xmlns:a16="http://schemas.microsoft.com/office/drawing/2014/main" id="{0D444888-6AC6-7E00-0583-2188E099BD60}"/>
              </a:ext>
            </a:extLst>
          </p:cNvPr>
          <p:cNvGrpSpPr/>
          <p:nvPr/>
        </p:nvGrpSpPr>
        <p:grpSpPr>
          <a:xfrm>
            <a:off x="6309386" y="0"/>
            <a:ext cx="18077789" cy="13715998"/>
            <a:chOff x="3794935" y="1047750"/>
            <a:chExt cx="3391780" cy="2848606"/>
          </a:xfrm>
        </p:grpSpPr>
        <p:sp>
          <p:nvSpPr>
            <p:cNvPr id="6" name="Puzzle piece 1" descr="puzzle piece dark blue">
              <a:extLst>
                <a:ext uri="{FF2B5EF4-FFF2-40B4-BE49-F238E27FC236}">
                  <a16:creationId xmlns:a16="http://schemas.microsoft.com/office/drawing/2014/main" id="{1A131BFF-D614-7F40-09C3-740DD0AA0D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4935" y="1047750"/>
              <a:ext cx="1688904" cy="1425176"/>
            </a:xfrm>
            <a:custGeom>
              <a:avLst/>
              <a:gdLst>
                <a:gd name="T0" fmla="*/ 2147483646 w 674"/>
                <a:gd name="T1" fmla="*/ 2147483646 h 525"/>
                <a:gd name="T2" fmla="*/ 2147483646 w 674"/>
                <a:gd name="T3" fmla="*/ 2147483646 h 525"/>
                <a:gd name="T4" fmla="*/ 2147483646 w 674"/>
                <a:gd name="T5" fmla="*/ 2147483646 h 525"/>
                <a:gd name="T6" fmla="*/ 2147483646 w 674"/>
                <a:gd name="T7" fmla="*/ 2147483646 h 525"/>
                <a:gd name="T8" fmla="*/ 2147483646 w 674"/>
                <a:gd name="T9" fmla="*/ 2147483646 h 525"/>
                <a:gd name="T10" fmla="*/ 2147483646 w 674"/>
                <a:gd name="T11" fmla="*/ 2147483646 h 525"/>
                <a:gd name="T12" fmla="*/ 2147483646 w 674"/>
                <a:gd name="T13" fmla="*/ 2147483646 h 525"/>
                <a:gd name="T14" fmla="*/ 2147483646 w 674"/>
                <a:gd name="T15" fmla="*/ 2147483646 h 525"/>
                <a:gd name="T16" fmla="*/ 2147483646 w 674"/>
                <a:gd name="T17" fmla="*/ 2147483646 h 525"/>
                <a:gd name="T18" fmla="*/ 2147483646 w 674"/>
                <a:gd name="T19" fmla="*/ 2147483646 h 525"/>
                <a:gd name="T20" fmla="*/ 2147483646 w 674"/>
                <a:gd name="T21" fmla="*/ 2147483646 h 525"/>
                <a:gd name="T22" fmla="*/ 2147483646 w 674"/>
                <a:gd name="T23" fmla="*/ 2147483646 h 525"/>
                <a:gd name="T24" fmla="*/ 2147483646 w 674"/>
                <a:gd name="T25" fmla="*/ 2147483646 h 525"/>
                <a:gd name="T26" fmla="*/ 2147483646 w 674"/>
                <a:gd name="T27" fmla="*/ 2147483646 h 525"/>
                <a:gd name="T28" fmla="*/ 2147483646 w 674"/>
                <a:gd name="T29" fmla="*/ 2147483646 h 525"/>
                <a:gd name="T30" fmla="*/ 2147483646 w 674"/>
                <a:gd name="T31" fmla="*/ 2147483646 h 525"/>
                <a:gd name="T32" fmla="*/ 2147483646 w 674"/>
                <a:gd name="T33" fmla="*/ 2147483646 h 525"/>
                <a:gd name="T34" fmla="*/ 2147483646 w 674"/>
                <a:gd name="T35" fmla="*/ 2147483646 h 525"/>
                <a:gd name="T36" fmla="*/ 2147483646 w 674"/>
                <a:gd name="T37" fmla="*/ 2147483646 h 525"/>
                <a:gd name="T38" fmla="*/ 2147483646 w 674"/>
                <a:gd name="T39" fmla="*/ 2147483646 h 525"/>
                <a:gd name="T40" fmla="*/ 2147483646 w 674"/>
                <a:gd name="T41" fmla="*/ 2147483646 h 525"/>
                <a:gd name="T42" fmla="*/ 2147483646 w 674"/>
                <a:gd name="T43" fmla="*/ 2147483646 h 525"/>
                <a:gd name="T44" fmla="*/ 2147483646 w 674"/>
                <a:gd name="T45" fmla="*/ 2147483646 h 525"/>
                <a:gd name="T46" fmla="*/ 2147483646 w 674"/>
                <a:gd name="T47" fmla="*/ 2147483646 h 525"/>
                <a:gd name="T48" fmla="*/ 2147483646 w 674"/>
                <a:gd name="T49" fmla="*/ 2147483646 h 525"/>
                <a:gd name="T50" fmla="*/ 2147483646 w 674"/>
                <a:gd name="T51" fmla="*/ 2147483646 h 525"/>
                <a:gd name="T52" fmla="*/ 2147483646 w 674"/>
                <a:gd name="T53" fmla="*/ 2147483646 h 525"/>
                <a:gd name="T54" fmla="*/ 2147483646 w 674"/>
                <a:gd name="T55" fmla="*/ 2147483646 h 525"/>
                <a:gd name="T56" fmla="*/ 2147483646 w 674"/>
                <a:gd name="T57" fmla="*/ 2147483646 h 525"/>
                <a:gd name="T58" fmla="*/ 2147483646 w 674"/>
                <a:gd name="T59" fmla="*/ 2147483646 h 525"/>
                <a:gd name="T60" fmla="*/ 2147483646 w 674"/>
                <a:gd name="T61" fmla="*/ 2147483646 h 525"/>
                <a:gd name="T62" fmla="*/ 2147483646 w 674"/>
                <a:gd name="T63" fmla="*/ 2147483646 h 525"/>
                <a:gd name="T64" fmla="*/ 2147483646 w 674"/>
                <a:gd name="T65" fmla="*/ 2147483646 h 525"/>
                <a:gd name="T66" fmla="*/ 2147483646 w 674"/>
                <a:gd name="T67" fmla="*/ 2147483646 h 525"/>
                <a:gd name="T68" fmla="*/ 2147483646 w 674"/>
                <a:gd name="T69" fmla="*/ 2147483646 h 525"/>
                <a:gd name="T70" fmla="*/ 2147483646 w 674"/>
                <a:gd name="T71" fmla="*/ 2147483646 h 525"/>
                <a:gd name="T72" fmla="*/ 2147483646 w 674"/>
                <a:gd name="T73" fmla="*/ 2147483646 h 525"/>
                <a:gd name="T74" fmla="*/ 2147483646 w 674"/>
                <a:gd name="T75" fmla="*/ 2147483646 h 525"/>
                <a:gd name="T76" fmla="*/ 2147483646 w 674"/>
                <a:gd name="T77" fmla="*/ 2147483646 h 525"/>
                <a:gd name="T78" fmla="*/ 2147483646 w 674"/>
                <a:gd name="T79" fmla="*/ 2147483646 h 525"/>
                <a:gd name="T80" fmla="*/ 2147483646 w 674"/>
                <a:gd name="T81" fmla="*/ 2147483646 h 525"/>
                <a:gd name="T82" fmla="*/ 2147483646 w 674"/>
                <a:gd name="T83" fmla="*/ 2147483646 h 525"/>
                <a:gd name="T84" fmla="*/ 2147483646 w 674"/>
                <a:gd name="T85" fmla="*/ 2147483646 h 525"/>
                <a:gd name="T86" fmla="*/ 2147483646 w 674"/>
                <a:gd name="T87" fmla="*/ 2147483646 h 525"/>
                <a:gd name="T88" fmla="*/ 2147483646 w 674"/>
                <a:gd name="T89" fmla="*/ 2147483646 h 525"/>
                <a:gd name="T90" fmla="*/ 2147483646 w 674"/>
                <a:gd name="T91" fmla="*/ 2147483646 h 525"/>
                <a:gd name="T92" fmla="*/ 2147483646 w 674"/>
                <a:gd name="T93" fmla="*/ 2147483646 h 525"/>
                <a:gd name="T94" fmla="*/ 2147483646 w 674"/>
                <a:gd name="T95" fmla="*/ 2147483646 h 525"/>
                <a:gd name="T96" fmla="*/ 2147483646 w 674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4"/>
                <a:gd name="T148" fmla="*/ 0 h 525"/>
                <a:gd name="T149" fmla="*/ 674 w 674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4" h="525">
                  <a:moveTo>
                    <a:pt x="0" y="0"/>
                  </a:moveTo>
                  <a:lnTo>
                    <a:pt x="674" y="0"/>
                  </a:lnTo>
                  <a:lnTo>
                    <a:pt x="674" y="196"/>
                  </a:lnTo>
                  <a:lnTo>
                    <a:pt x="672" y="201"/>
                  </a:lnTo>
                  <a:lnTo>
                    <a:pt x="670" y="205"/>
                  </a:lnTo>
                  <a:lnTo>
                    <a:pt x="668" y="208"/>
                  </a:lnTo>
                  <a:lnTo>
                    <a:pt x="666" y="211"/>
                  </a:lnTo>
                  <a:lnTo>
                    <a:pt x="664" y="213"/>
                  </a:lnTo>
                  <a:lnTo>
                    <a:pt x="661" y="214"/>
                  </a:lnTo>
                  <a:lnTo>
                    <a:pt x="659" y="215"/>
                  </a:lnTo>
                  <a:lnTo>
                    <a:pt x="656" y="215"/>
                  </a:lnTo>
                  <a:lnTo>
                    <a:pt x="653" y="215"/>
                  </a:lnTo>
                  <a:lnTo>
                    <a:pt x="651" y="214"/>
                  </a:lnTo>
                  <a:lnTo>
                    <a:pt x="645" y="211"/>
                  </a:lnTo>
                  <a:lnTo>
                    <a:pt x="639" y="207"/>
                  </a:lnTo>
                  <a:lnTo>
                    <a:pt x="631" y="203"/>
                  </a:lnTo>
                  <a:lnTo>
                    <a:pt x="617" y="193"/>
                  </a:lnTo>
                  <a:lnTo>
                    <a:pt x="609" y="189"/>
                  </a:lnTo>
                  <a:lnTo>
                    <a:pt x="606" y="187"/>
                  </a:lnTo>
                  <a:lnTo>
                    <a:pt x="602" y="185"/>
                  </a:lnTo>
                  <a:lnTo>
                    <a:pt x="598" y="184"/>
                  </a:lnTo>
                  <a:lnTo>
                    <a:pt x="593" y="183"/>
                  </a:lnTo>
                  <a:lnTo>
                    <a:pt x="589" y="183"/>
                  </a:lnTo>
                  <a:lnTo>
                    <a:pt x="585" y="183"/>
                  </a:lnTo>
                  <a:lnTo>
                    <a:pt x="580" y="184"/>
                  </a:lnTo>
                  <a:lnTo>
                    <a:pt x="576" y="185"/>
                  </a:lnTo>
                  <a:lnTo>
                    <a:pt x="571" y="187"/>
                  </a:lnTo>
                  <a:lnTo>
                    <a:pt x="567" y="190"/>
                  </a:lnTo>
                  <a:lnTo>
                    <a:pt x="563" y="192"/>
                  </a:lnTo>
                  <a:lnTo>
                    <a:pt x="559" y="195"/>
                  </a:lnTo>
                  <a:lnTo>
                    <a:pt x="556" y="199"/>
                  </a:lnTo>
                  <a:lnTo>
                    <a:pt x="553" y="202"/>
                  </a:lnTo>
                  <a:lnTo>
                    <a:pt x="546" y="210"/>
                  </a:lnTo>
                  <a:lnTo>
                    <a:pt x="541" y="219"/>
                  </a:lnTo>
                  <a:lnTo>
                    <a:pt x="539" y="224"/>
                  </a:lnTo>
                  <a:lnTo>
                    <a:pt x="538" y="229"/>
                  </a:lnTo>
                  <a:lnTo>
                    <a:pt x="535" y="240"/>
                  </a:lnTo>
                  <a:lnTo>
                    <a:pt x="533" y="250"/>
                  </a:lnTo>
                  <a:lnTo>
                    <a:pt x="532" y="255"/>
                  </a:lnTo>
                  <a:lnTo>
                    <a:pt x="532" y="261"/>
                  </a:lnTo>
                  <a:lnTo>
                    <a:pt x="532" y="272"/>
                  </a:lnTo>
                  <a:lnTo>
                    <a:pt x="534" y="282"/>
                  </a:lnTo>
                  <a:lnTo>
                    <a:pt x="536" y="293"/>
                  </a:lnTo>
                  <a:lnTo>
                    <a:pt x="540" y="304"/>
                  </a:lnTo>
                  <a:lnTo>
                    <a:pt x="542" y="308"/>
                  </a:lnTo>
                  <a:lnTo>
                    <a:pt x="544" y="313"/>
                  </a:lnTo>
                  <a:lnTo>
                    <a:pt x="547" y="317"/>
                  </a:lnTo>
                  <a:lnTo>
                    <a:pt x="551" y="321"/>
                  </a:lnTo>
                  <a:lnTo>
                    <a:pt x="554" y="325"/>
                  </a:lnTo>
                  <a:lnTo>
                    <a:pt x="558" y="329"/>
                  </a:lnTo>
                  <a:lnTo>
                    <a:pt x="562" y="332"/>
                  </a:lnTo>
                  <a:lnTo>
                    <a:pt x="566" y="336"/>
                  </a:lnTo>
                  <a:lnTo>
                    <a:pt x="570" y="338"/>
                  </a:lnTo>
                  <a:lnTo>
                    <a:pt x="574" y="340"/>
                  </a:lnTo>
                  <a:lnTo>
                    <a:pt x="579" y="341"/>
                  </a:lnTo>
                  <a:lnTo>
                    <a:pt x="583" y="342"/>
                  </a:lnTo>
                  <a:lnTo>
                    <a:pt x="587" y="342"/>
                  </a:lnTo>
                  <a:lnTo>
                    <a:pt x="591" y="342"/>
                  </a:lnTo>
                  <a:lnTo>
                    <a:pt x="600" y="339"/>
                  </a:lnTo>
                  <a:lnTo>
                    <a:pt x="607" y="336"/>
                  </a:lnTo>
                  <a:lnTo>
                    <a:pt x="615" y="331"/>
                  </a:lnTo>
                  <a:lnTo>
                    <a:pt x="623" y="326"/>
                  </a:lnTo>
                  <a:lnTo>
                    <a:pt x="630" y="320"/>
                  </a:lnTo>
                  <a:lnTo>
                    <a:pt x="638" y="316"/>
                  </a:lnTo>
                  <a:lnTo>
                    <a:pt x="644" y="311"/>
                  </a:lnTo>
                  <a:lnTo>
                    <a:pt x="650" y="309"/>
                  </a:lnTo>
                  <a:lnTo>
                    <a:pt x="653" y="308"/>
                  </a:lnTo>
                  <a:lnTo>
                    <a:pt x="656" y="307"/>
                  </a:lnTo>
                  <a:lnTo>
                    <a:pt x="661" y="308"/>
                  </a:lnTo>
                  <a:lnTo>
                    <a:pt x="664" y="309"/>
                  </a:lnTo>
                  <a:lnTo>
                    <a:pt x="666" y="312"/>
                  </a:lnTo>
                  <a:lnTo>
                    <a:pt x="668" y="314"/>
                  </a:lnTo>
                  <a:lnTo>
                    <a:pt x="670" y="318"/>
                  </a:lnTo>
                  <a:lnTo>
                    <a:pt x="672" y="322"/>
                  </a:lnTo>
                  <a:lnTo>
                    <a:pt x="674" y="328"/>
                  </a:lnTo>
                  <a:lnTo>
                    <a:pt x="674" y="525"/>
                  </a:lnTo>
                  <a:lnTo>
                    <a:pt x="403" y="525"/>
                  </a:lnTo>
                  <a:lnTo>
                    <a:pt x="393" y="521"/>
                  </a:lnTo>
                  <a:lnTo>
                    <a:pt x="390" y="519"/>
                  </a:lnTo>
                  <a:lnTo>
                    <a:pt x="387" y="517"/>
                  </a:lnTo>
                  <a:lnTo>
                    <a:pt x="384" y="515"/>
                  </a:lnTo>
                  <a:lnTo>
                    <a:pt x="383" y="512"/>
                  </a:lnTo>
                  <a:lnTo>
                    <a:pt x="382" y="509"/>
                  </a:lnTo>
                  <a:lnTo>
                    <a:pt x="382" y="507"/>
                  </a:lnTo>
                  <a:lnTo>
                    <a:pt x="382" y="504"/>
                  </a:lnTo>
                  <a:lnTo>
                    <a:pt x="383" y="501"/>
                  </a:lnTo>
                  <a:lnTo>
                    <a:pt x="386" y="495"/>
                  </a:lnTo>
                  <a:lnTo>
                    <a:pt x="390" y="487"/>
                  </a:lnTo>
                  <a:lnTo>
                    <a:pt x="395" y="481"/>
                  </a:lnTo>
                  <a:lnTo>
                    <a:pt x="400" y="473"/>
                  </a:lnTo>
                  <a:lnTo>
                    <a:pt x="405" y="466"/>
                  </a:lnTo>
                  <a:lnTo>
                    <a:pt x="410" y="458"/>
                  </a:lnTo>
                  <a:lnTo>
                    <a:pt x="414" y="450"/>
                  </a:lnTo>
                  <a:lnTo>
                    <a:pt x="416" y="442"/>
                  </a:lnTo>
                  <a:lnTo>
                    <a:pt x="417" y="438"/>
                  </a:lnTo>
                  <a:lnTo>
                    <a:pt x="417" y="433"/>
                  </a:lnTo>
                  <a:lnTo>
                    <a:pt x="416" y="429"/>
                  </a:lnTo>
                  <a:lnTo>
                    <a:pt x="415" y="424"/>
                  </a:lnTo>
                  <a:lnTo>
                    <a:pt x="413" y="419"/>
                  </a:lnTo>
                  <a:lnTo>
                    <a:pt x="410" y="415"/>
                  </a:lnTo>
                  <a:lnTo>
                    <a:pt x="404" y="407"/>
                  </a:lnTo>
                  <a:lnTo>
                    <a:pt x="400" y="404"/>
                  </a:lnTo>
                  <a:lnTo>
                    <a:pt x="396" y="400"/>
                  </a:lnTo>
                  <a:lnTo>
                    <a:pt x="388" y="395"/>
                  </a:lnTo>
                  <a:lnTo>
                    <a:pt x="383" y="392"/>
                  </a:lnTo>
                  <a:lnTo>
                    <a:pt x="377" y="390"/>
                  </a:lnTo>
                  <a:lnTo>
                    <a:pt x="367" y="387"/>
                  </a:lnTo>
                  <a:lnTo>
                    <a:pt x="362" y="385"/>
                  </a:lnTo>
                  <a:lnTo>
                    <a:pt x="357" y="384"/>
                  </a:lnTo>
                  <a:lnTo>
                    <a:pt x="346" y="383"/>
                  </a:lnTo>
                  <a:lnTo>
                    <a:pt x="335" y="383"/>
                  </a:lnTo>
                  <a:lnTo>
                    <a:pt x="325" y="383"/>
                  </a:lnTo>
                  <a:lnTo>
                    <a:pt x="314" y="385"/>
                  </a:lnTo>
                  <a:lnTo>
                    <a:pt x="304" y="388"/>
                  </a:lnTo>
                  <a:lnTo>
                    <a:pt x="299" y="390"/>
                  </a:lnTo>
                  <a:lnTo>
                    <a:pt x="294" y="392"/>
                  </a:lnTo>
                  <a:lnTo>
                    <a:pt x="285" y="396"/>
                  </a:lnTo>
                  <a:lnTo>
                    <a:pt x="281" y="399"/>
                  </a:lnTo>
                  <a:lnTo>
                    <a:pt x="277" y="402"/>
                  </a:lnTo>
                  <a:lnTo>
                    <a:pt x="270" y="409"/>
                  </a:lnTo>
                  <a:lnTo>
                    <a:pt x="267" y="412"/>
                  </a:lnTo>
                  <a:lnTo>
                    <a:pt x="264" y="416"/>
                  </a:lnTo>
                  <a:lnTo>
                    <a:pt x="262" y="421"/>
                  </a:lnTo>
                  <a:lnTo>
                    <a:pt x="260" y="425"/>
                  </a:lnTo>
                  <a:lnTo>
                    <a:pt x="259" y="431"/>
                  </a:lnTo>
                  <a:lnTo>
                    <a:pt x="258" y="435"/>
                  </a:lnTo>
                  <a:lnTo>
                    <a:pt x="258" y="440"/>
                  </a:lnTo>
                  <a:lnTo>
                    <a:pt x="258" y="444"/>
                  </a:lnTo>
                  <a:lnTo>
                    <a:pt x="259" y="448"/>
                  </a:lnTo>
                  <a:lnTo>
                    <a:pt x="260" y="452"/>
                  </a:lnTo>
                  <a:lnTo>
                    <a:pt x="263" y="460"/>
                  </a:lnTo>
                  <a:lnTo>
                    <a:pt x="268" y="467"/>
                  </a:lnTo>
                  <a:lnTo>
                    <a:pt x="273" y="475"/>
                  </a:lnTo>
                  <a:lnTo>
                    <a:pt x="277" y="482"/>
                  </a:lnTo>
                  <a:lnTo>
                    <a:pt x="282" y="488"/>
                  </a:lnTo>
                  <a:lnTo>
                    <a:pt x="286" y="495"/>
                  </a:lnTo>
                  <a:lnTo>
                    <a:pt x="288" y="501"/>
                  </a:lnTo>
                  <a:lnTo>
                    <a:pt x="289" y="504"/>
                  </a:lnTo>
                  <a:lnTo>
                    <a:pt x="289" y="507"/>
                  </a:lnTo>
                  <a:lnTo>
                    <a:pt x="289" y="509"/>
                  </a:lnTo>
                  <a:lnTo>
                    <a:pt x="288" y="512"/>
                  </a:lnTo>
                  <a:lnTo>
                    <a:pt x="287" y="514"/>
                  </a:lnTo>
                  <a:lnTo>
                    <a:pt x="285" y="517"/>
                  </a:lnTo>
                  <a:lnTo>
                    <a:pt x="282" y="519"/>
                  </a:lnTo>
                  <a:lnTo>
                    <a:pt x="279" y="521"/>
                  </a:lnTo>
                  <a:lnTo>
                    <a:pt x="274" y="523"/>
                  </a:lnTo>
                  <a:lnTo>
                    <a:pt x="269" y="525"/>
                  </a:lnTo>
                  <a:lnTo>
                    <a:pt x="0" y="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6350" cmpd="sng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defTabSz="1828844">
                <a:defRPr/>
              </a:pPr>
              <a:endParaRPr lang="en-US" sz="2667" kern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" name="Text Box 1">
              <a:extLst>
                <a:ext uri="{FF2B5EF4-FFF2-40B4-BE49-F238E27FC236}">
                  <a16:creationId xmlns:a16="http://schemas.microsoft.com/office/drawing/2014/main" id="{D005639F-39F5-11F0-BDCF-171F26FA3B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33247" y="1163119"/>
              <a:ext cx="1276720" cy="134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40" rIns="9144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defTabSz="1828844">
                <a:buClr>
                  <a:srgbClr val="000000"/>
                </a:buClr>
                <a:defRPr/>
              </a:pPr>
              <a:r>
                <a:rPr lang="en-US" altLang="en-US" sz="3600" b="1" kern="0" dirty="0">
                  <a:solidFill>
                    <a:srgbClr val="FFFFFF"/>
                  </a:solidFill>
                  <a:latin typeface="+mn-lt"/>
                  <a:ea typeface="MS PGothic" charset="-128"/>
                </a:rPr>
                <a:t>Preparing for the Interview</a:t>
              </a:r>
            </a:p>
          </p:txBody>
        </p:sp>
        <p:sp>
          <p:nvSpPr>
            <p:cNvPr id="8" name="Puzzle piece 2" descr="puzzle piece medium blue">
              <a:extLst>
                <a:ext uri="{FF2B5EF4-FFF2-40B4-BE49-F238E27FC236}">
                  <a16:creationId xmlns:a16="http://schemas.microsoft.com/office/drawing/2014/main" id="{5BBDB8A4-2F00-88DD-6A79-74C787B6841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5798" y="1047750"/>
              <a:ext cx="2060917" cy="1425176"/>
            </a:xfrm>
            <a:custGeom>
              <a:avLst/>
              <a:gdLst>
                <a:gd name="T0" fmla="*/ 2147483646 w 822"/>
                <a:gd name="T1" fmla="*/ 2147483646 h 525"/>
                <a:gd name="T2" fmla="*/ 2147483646 w 822"/>
                <a:gd name="T3" fmla="*/ 2147483646 h 525"/>
                <a:gd name="T4" fmla="*/ 2147483646 w 822"/>
                <a:gd name="T5" fmla="*/ 2147483646 h 525"/>
                <a:gd name="T6" fmla="*/ 2147483646 w 822"/>
                <a:gd name="T7" fmla="*/ 2147483646 h 525"/>
                <a:gd name="T8" fmla="*/ 2147483646 w 822"/>
                <a:gd name="T9" fmla="*/ 2147483646 h 525"/>
                <a:gd name="T10" fmla="*/ 2147483646 w 822"/>
                <a:gd name="T11" fmla="*/ 2147483646 h 525"/>
                <a:gd name="T12" fmla="*/ 2147483646 w 822"/>
                <a:gd name="T13" fmla="*/ 2147483646 h 525"/>
                <a:gd name="T14" fmla="*/ 2147483646 w 822"/>
                <a:gd name="T15" fmla="*/ 2147483646 h 525"/>
                <a:gd name="T16" fmla="*/ 2147483646 w 822"/>
                <a:gd name="T17" fmla="*/ 2147483646 h 525"/>
                <a:gd name="T18" fmla="*/ 2147483646 w 822"/>
                <a:gd name="T19" fmla="*/ 2147483646 h 525"/>
                <a:gd name="T20" fmla="*/ 2147483646 w 822"/>
                <a:gd name="T21" fmla="*/ 2147483646 h 525"/>
                <a:gd name="T22" fmla="*/ 2147483646 w 822"/>
                <a:gd name="T23" fmla="*/ 2147483646 h 525"/>
                <a:gd name="T24" fmla="*/ 2147483646 w 822"/>
                <a:gd name="T25" fmla="*/ 2147483646 h 525"/>
                <a:gd name="T26" fmla="*/ 2147483646 w 822"/>
                <a:gd name="T27" fmla="*/ 2147483646 h 525"/>
                <a:gd name="T28" fmla="*/ 2147483646 w 822"/>
                <a:gd name="T29" fmla="*/ 2147483646 h 525"/>
                <a:gd name="T30" fmla="*/ 2147483646 w 822"/>
                <a:gd name="T31" fmla="*/ 2147483646 h 525"/>
                <a:gd name="T32" fmla="*/ 2147483646 w 822"/>
                <a:gd name="T33" fmla="*/ 2147483646 h 525"/>
                <a:gd name="T34" fmla="*/ 2147483646 w 822"/>
                <a:gd name="T35" fmla="*/ 2147483646 h 525"/>
                <a:gd name="T36" fmla="*/ 2147483646 w 822"/>
                <a:gd name="T37" fmla="*/ 2147483646 h 525"/>
                <a:gd name="T38" fmla="*/ 2147483646 w 822"/>
                <a:gd name="T39" fmla="*/ 2147483646 h 525"/>
                <a:gd name="T40" fmla="*/ 2147483646 w 822"/>
                <a:gd name="T41" fmla="*/ 2147483646 h 525"/>
                <a:gd name="T42" fmla="*/ 2147483646 w 822"/>
                <a:gd name="T43" fmla="*/ 2147483646 h 525"/>
                <a:gd name="T44" fmla="*/ 2147483646 w 822"/>
                <a:gd name="T45" fmla="*/ 2147483646 h 525"/>
                <a:gd name="T46" fmla="*/ 2147483646 w 822"/>
                <a:gd name="T47" fmla="*/ 2147483646 h 525"/>
                <a:gd name="T48" fmla="*/ 2147483646 w 822"/>
                <a:gd name="T49" fmla="*/ 2147483646 h 525"/>
                <a:gd name="T50" fmla="*/ 2147483646 w 822"/>
                <a:gd name="T51" fmla="*/ 2147483646 h 525"/>
                <a:gd name="T52" fmla="*/ 2147483646 w 822"/>
                <a:gd name="T53" fmla="*/ 2147483646 h 525"/>
                <a:gd name="T54" fmla="*/ 2147483646 w 822"/>
                <a:gd name="T55" fmla="*/ 2147483646 h 525"/>
                <a:gd name="T56" fmla="*/ 2147483646 w 822"/>
                <a:gd name="T57" fmla="*/ 2147483646 h 525"/>
                <a:gd name="T58" fmla="*/ 2147483646 w 822"/>
                <a:gd name="T59" fmla="*/ 2147483646 h 525"/>
                <a:gd name="T60" fmla="*/ 2147483646 w 822"/>
                <a:gd name="T61" fmla="*/ 2147483646 h 525"/>
                <a:gd name="T62" fmla="*/ 2147483646 w 822"/>
                <a:gd name="T63" fmla="*/ 2147483646 h 525"/>
                <a:gd name="T64" fmla="*/ 2147483646 w 822"/>
                <a:gd name="T65" fmla="*/ 2147483646 h 525"/>
                <a:gd name="T66" fmla="*/ 2147483646 w 822"/>
                <a:gd name="T67" fmla="*/ 2147483646 h 525"/>
                <a:gd name="T68" fmla="*/ 2147483646 w 822"/>
                <a:gd name="T69" fmla="*/ 2147483646 h 525"/>
                <a:gd name="T70" fmla="*/ 2147483646 w 822"/>
                <a:gd name="T71" fmla="*/ 2147483646 h 525"/>
                <a:gd name="T72" fmla="*/ 2147483646 w 822"/>
                <a:gd name="T73" fmla="*/ 2147483646 h 525"/>
                <a:gd name="T74" fmla="*/ 2147483646 w 822"/>
                <a:gd name="T75" fmla="*/ 2147483646 h 525"/>
                <a:gd name="T76" fmla="*/ 2147483646 w 822"/>
                <a:gd name="T77" fmla="*/ 2147483646 h 525"/>
                <a:gd name="T78" fmla="*/ 2147483646 w 822"/>
                <a:gd name="T79" fmla="*/ 2147483646 h 525"/>
                <a:gd name="T80" fmla="*/ 2147483646 w 822"/>
                <a:gd name="T81" fmla="*/ 2147483646 h 525"/>
                <a:gd name="T82" fmla="*/ 2147483646 w 822"/>
                <a:gd name="T83" fmla="*/ 2147483646 h 525"/>
                <a:gd name="T84" fmla="*/ 2147483646 w 822"/>
                <a:gd name="T85" fmla="*/ 2147483646 h 525"/>
                <a:gd name="T86" fmla="*/ 2147483646 w 822"/>
                <a:gd name="T87" fmla="*/ 2147483646 h 525"/>
                <a:gd name="T88" fmla="*/ 2147483646 w 822"/>
                <a:gd name="T89" fmla="*/ 2147483646 h 525"/>
                <a:gd name="T90" fmla="*/ 2147483646 w 822"/>
                <a:gd name="T91" fmla="*/ 2147483646 h 525"/>
                <a:gd name="T92" fmla="*/ 2147483646 w 822"/>
                <a:gd name="T93" fmla="*/ 2147483646 h 525"/>
                <a:gd name="T94" fmla="*/ 2147483646 w 822"/>
                <a:gd name="T95" fmla="*/ 2147483646 h 525"/>
                <a:gd name="T96" fmla="*/ 2147483646 w 822"/>
                <a:gd name="T97" fmla="*/ 2147483646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525"/>
                <a:gd name="T149" fmla="*/ 822 w 822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525">
                  <a:moveTo>
                    <a:pt x="822" y="525"/>
                  </a:moveTo>
                  <a:lnTo>
                    <a:pt x="549" y="525"/>
                  </a:lnTo>
                  <a:lnTo>
                    <a:pt x="542" y="522"/>
                  </a:lnTo>
                  <a:lnTo>
                    <a:pt x="536" y="520"/>
                  </a:lnTo>
                  <a:lnTo>
                    <a:pt x="532" y="516"/>
                  </a:lnTo>
                  <a:lnTo>
                    <a:pt x="530" y="515"/>
                  </a:lnTo>
                  <a:lnTo>
                    <a:pt x="529" y="513"/>
                  </a:lnTo>
                  <a:lnTo>
                    <a:pt x="528" y="510"/>
                  </a:lnTo>
                  <a:lnTo>
                    <a:pt x="527" y="506"/>
                  </a:lnTo>
                  <a:lnTo>
                    <a:pt x="528" y="502"/>
                  </a:lnTo>
                  <a:lnTo>
                    <a:pt x="529" y="498"/>
                  </a:lnTo>
                  <a:lnTo>
                    <a:pt x="534" y="489"/>
                  </a:lnTo>
                  <a:lnTo>
                    <a:pt x="540" y="479"/>
                  </a:lnTo>
                  <a:lnTo>
                    <a:pt x="550" y="466"/>
                  </a:lnTo>
                  <a:lnTo>
                    <a:pt x="555" y="458"/>
                  </a:lnTo>
                  <a:lnTo>
                    <a:pt x="558" y="451"/>
                  </a:lnTo>
                  <a:lnTo>
                    <a:pt x="560" y="445"/>
                  </a:lnTo>
                  <a:lnTo>
                    <a:pt x="561" y="442"/>
                  </a:lnTo>
                  <a:lnTo>
                    <a:pt x="561" y="438"/>
                  </a:lnTo>
                  <a:lnTo>
                    <a:pt x="561" y="432"/>
                  </a:lnTo>
                  <a:lnTo>
                    <a:pt x="560" y="425"/>
                  </a:lnTo>
                  <a:lnTo>
                    <a:pt x="559" y="422"/>
                  </a:lnTo>
                  <a:lnTo>
                    <a:pt x="558" y="420"/>
                  </a:lnTo>
                  <a:lnTo>
                    <a:pt x="556" y="416"/>
                  </a:lnTo>
                  <a:lnTo>
                    <a:pt x="554" y="412"/>
                  </a:lnTo>
                  <a:lnTo>
                    <a:pt x="551" y="408"/>
                  </a:lnTo>
                  <a:lnTo>
                    <a:pt x="548" y="405"/>
                  </a:lnTo>
                  <a:lnTo>
                    <a:pt x="544" y="402"/>
                  </a:lnTo>
                  <a:lnTo>
                    <a:pt x="536" y="396"/>
                  </a:lnTo>
                  <a:lnTo>
                    <a:pt x="531" y="393"/>
                  </a:lnTo>
                  <a:lnTo>
                    <a:pt x="527" y="391"/>
                  </a:lnTo>
                  <a:lnTo>
                    <a:pt x="520" y="389"/>
                  </a:lnTo>
                  <a:lnTo>
                    <a:pt x="515" y="387"/>
                  </a:lnTo>
                  <a:lnTo>
                    <a:pt x="504" y="384"/>
                  </a:lnTo>
                  <a:lnTo>
                    <a:pt x="498" y="383"/>
                  </a:lnTo>
                  <a:lnTo>
                    <a:pt x="492" y="383"/>
                  </a:lnTo>
                  <a:lnTo>
                    <a:pt x="480" y="382"/>
                  </a:lnTo>
                  <a:lnTo>
                    <a:pt x="468" y="383"/>
                  </a:lnTo>
                  <a:lnTo>
                    <a:pt x="457" y="385"/>
                  </a:lnTo>
                  <a:lnTo>
                    <a:pt x="445" y="388"/>
                  </a:lnTo>
                  <a:lnTo>
                    <a:pt x="439" y="391"/>
                  </a:lnTo>
                  <a:lnTo>
                    <a:pt x="434" y="393"/>
                  </a:lnTo>
                  <a:lnTo>
                    <a:pt x="429" y="396"/>
                  </a:lnTo>
                  <a:lnTo>
                    <a:pt x="424" y="399"/>
                  </a:lnTo>
                  <a:lnTo>
                    <a:pt x="420" y="403"/>
                  </a:lnTo>
                  <a:lnTo>
                    <a:pt x="416" y="407"/>
                  </a:lnTo>
                  <a:lnTo>
                    <a:pt x="412" y="411"/>
                  </a:lnTo>
                  <a:lnTo>
                    <a:pt x="409" y="416"/>
                  </a:lnTo>
                  <a:lnTo>
                    <a:pt x="406" y="420"/>
                  </a:lnTo>
                  <a:lnTo>
                    <a:pt x="404" y="425"/>
                  </a:lnTo>
                  <a:lnTo>
                    <a:pt x="403" y="431"/>
                  </a:lnTo>
                  <a:lnTo>
                    <a:pt x="402" y="435"/>
                  </a:lnTo>
                  <a:lnTo>
                    <a:pt x="402" y="439"/>
                  </a:lnTo>
                  <a:lnTo>
                    <a:pt x="403" y="444"/>
                  </a:lnTo>
                  <a:lnTo>
                    <a:pt x="404" y="448"/>
                  </a:lnTo>
                  <a:lnTo>
                    <a:pt x="405" y="452"/>
                  </a:lnTo>
                  <a:lnTo>
                    <a:pt x="408" y="460"/>
                  </a:lnTo>
                  <a:lnTo>
                    <a:pt x="412" y="468"/>
                  </a:lnTo>
                  <a:lnTo>
                    <a:pt x="417" y="475"/>
                  </a:lnTo>
                  <a:lnTo>
                    <a:pt x="422" y="482"/>
                  </a:lnTo>
                  <a:lnTo>
                    <a:pt x="427" y="488"/>
                  </a:lnTo>
                  <a:lnTo>
                    <a:pt x="431" y="495"/>
                  </a:lnTo>
                  <a:lnTo>
                    <a:pt x="433" y="501"/>
                  </a:lnTo>
                  <a:lnTo>
                    <a:pt x="434" y="504"/>
                  </a:lnTo>
                  <a:lnTo>
                    <a:pt x="434" y="507"/>
                  </a:lnTo>
                  <a:lnTo>
                    <a:pt x="434" y="509"/>
                  </a:lnTo>
                  <a:lnTo>
                    <a:pt x="433" y="512"/>
                  </a:lnTo>
                  <a:lnTo>
                    <a:pt x="432" y="514"/>
                  </a:lnTo>
                  <a:lnTo>
                    <a:pt x="430" y="517"/>
                  </a:lnTo>
                  <a:lnTo>
                    <a:pt x="427" y="519"/>
                  </a:lnTo>
                  <a:lnTo>
                    <a:pt x="423" y="521"/>
                  </a:lnTo>
                  <a:lnTo>
                    <a:pt x="419" y="523"/>
                  </a:lnTo>
                  <a:lnTo>
                    <a:pt x="413" y="525"/>
                  </a:lnTo>
                  <a:lnTo>
                    <a:pt x="142" y="525"/>
                  </a:lnTo>
                  <a:lnTo>
                    <a:pt x="142" y="327"/>
                  </a:lnTo>
                  <a:lnTo>
                    <a:pt x="138" y="317"/>
                  </a:lnTo>
                  <a:lnTo>
                    <a:pt x="134" y="311"/>
                  </a:lnTo>
                  <a:lnTo>
                    <a:pt x="132" y="309"/>
                  </a:lnTo>
                  <a:lnTo>
                    <a:pt x="129" y="308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8"/>
                  </a:lnTo>
                  <a:lnTo>
                    <a:pt x="118" y="309"/>
                  </a:lnTo>
                  <a:lnTo>
                    <a:pt x="112" y="312"/>
                  </a:lnTo>
                  <a:lnTo>
                    <a:pt x="106" y="316"/>
                  </a:lnTo>
                  <a:lnTo>
                    <a:pt x="98" y="321"/>
                  </a:lnTo>
                  <a:lnTo>
                    <a:pt x="83" y="331"/>
                  </a:lnTo>
                  <a:lnTo>
                    <a:pt x="79" y="333"/>
                  </a:lnTo>
                  <a:lnTo>
                    <a:pt x="76" y="336"/>
                  </a:lnTo>
                  <a:lnTo>
                    <a:pt x="72" y="338"/>
                  </a:lnTo>
                  <a:lnTo>
                    <a:pt x="68" y="339"/>
                  </a:lnTo>
                  <a:lnTo>
                    <a:pt x="59" y="342"/>
                  </a:lnTo>
                  <a:lnTo>
                    <a:pt x="55" y="342"/>
                  </a:lnTo>
                  <a:lnTo>
                    <a:pt x="51" y="342"/>
                  </a:lnTo>
                  <a:lnTo>
                    <a:pt x="47" y="341"/>
                  </a:lnTo>
                  <a:lnTo>
                    <a:pt x="43" y="340"/>
                  </a:lnTo>
                  <a:lnTo>
                    <a:pt x="38" y="338"/>
                  </a:lnTo>
                  <a:lnTo>
                    <a:pt x="34" y="336"/>
                  </a:lnTo>
                  <a:lnTo>
                    <a:pt x="26" y="329"/>
                  </a:lnTo>
                  <a:lnTo>
                    <a:pt x="22" y="325"/>
                  </a:lnTo>
                  <a:lnTo>
                    <a:pt x="19" y="321"/>
                  </a:lnTo>
                  <a:lnTo>
                    <a:pt x="12" y="313"/>
                  </a:lnTo>
                  <a:lnTo>
                    <a:pt x="10" y="308"/>
                  </a:lnTo>
                  <a:lnTo>
                    <a:pt x="8" y="304"/>
                  </a:lnTo>
                  <a:lnTo>
                    <a:pt x="4" y="293"/>
                  </a:lnTo>
                  <a:lnTo>
                    <a:pt x="3" y="287"/>
                  </a:lnTo>
                  <a:lnTo>
                    <a:pt x="2" y="282"/>
                  </a:lnTo>
                  <a:lnTo>
                    <a:pt x="1" y="272"/>
                  </a:lnTo>
                  <a:lnTo>
                    <a:pt x="0" y="261"/>
                  </a:lnTo>
                  <a:lnTo>
                    <a:pt x="1" y="250"/>
                  </a:lnTo>
                  <a:lnTo>
                    <a:pt x="3" y="240"/>
                  </a:lnTo>
                  <a:lnTo>
                    <a:pt x="6" y="229"/>
                  </a:lnTo>
                  <a:lnTo>
                    <a:pt x="8" y="224"/>
                  </a:lnTo>
                  <a:lnTo>
                    <a:pt x="10" y="219"/>
                  </a:lnTo>
                  <a:lnTo>
                    <a:pt x="14" y="210"/>
                  </a:lnTo>
                  <a:lnTo>
                    <a:pt x="18" y="206"/>
                  </a:lnTo>
                  <a:lnTo>
                    <a:pt x="21" y="202"/>
                  </a:lnTo>
                  <a:lnTo>
                    <a:pt x="27" y="195"/>
                  </a:lnTo>
                  <a:lnTo>
                    <a:pt x="31" y="192"/>
                  </a:lnTo>
                  <a:lnTo>
                    <a:pt x="35" y="190"/>
                  </a:lnTo>
                  <a:lnTo>
                    <a:pt x="40" y="187"/>
                  </a:lnTo>
                  <a:lnTo>
                    <a:pt x="44" y="185"/>
                  </a:lnTo>
                  <a:lnTo>
                    <a:pt x="49" y="184"/>
                  </a:lnTo>
                  <a:lnTo>
                    <a:pt x="53" y="183"/>
                  </a:lnTo>
                  <a:lnTo>
                    <a:pt x="57" y="183"/>
                  </a:lnTo>
                  <a:lnTo>
                    <a:pt x="61" y="183"/>
                  </a:lnTo>
                  <a:lnTo>
                    <a:pt x="66" y="184"/>
                  </a:lnTo>
                  <a:lnTo>
                    <a:pt x="70" y="185"/>
                  </a:lnTo>
                  <a:lnTo>
                    <a:pt x="78" y="189"/>
                  </a:lnTo>
                  <a:lnTo>
                    <a:pt x="85" y="193"/>
                  </a:lnTo>
                  <a:lnTo>
                    <a:pt x="92" y="198"/>
                  </a:lnTo>
                  <a:lnTo>
                    <a:pt x="99" y="203"/>
                  </a:lnTo>
                  <a:lnTo>
                    <a:pt x="107" y="207"/>
                  </a:lnTo>
                  <a:lnTo>
                    <a:pt x="113" y="211"/>
                  </a:lnTo>
                  <a:lnTo>
                    <a:pt x="119" y="214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27" y="215"/>
                  </a:lnTo>
                  <a:lnTo>
                    <a:pt x="129" y="214"/>
                  </a:lnTo>
                  <a:lnTo>
                    <a:pt x="132" y="213"/>
                  </a:lnTo>
                  <a:lnTo>
                    <a:pt x="134" y="211"/>
                  </a:lnTo>
                  <a:lnTo>
                    <a:pt x="138" y="205"/>
                  </a:lnTo>
                  <a:lnTo>
                    <a:pt x="140" y="201"/>
                  </a:lnTo>
                  <a:lnTo>
                    <a:pt x="142" y="196"/>
                  </a:lnTo>
                  <a:lnTo>
                    <a:pt x="142" y="0"/>
                  </a:lnTo>
                  <a:lnTo>
                    <a:pt x="822" y="0"/>
                  </a:lnTo>
                  <a:lnTo>
                    <a:pt x="822" y="52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350" cmpd="sng">
              <a:solidFill>
                <a:schemeClr val="accent2"/>
              </a:solidFill>
              <a:round/>
              <a:headEnd/>
              <a:tailEnd/>
            </a:ln>
          </p:spPr>
          <p:txBody>
            <a:bodyPr/>
            <a:lstStyle/>
            <a:p>
              <a:pPr defTabSz="1828844">
                <a:defRPr/>
              </a:pPr>
              <a:endParaRPr lang="en-US" sz="2667" kern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Text Box 2">
              <a:extLst>
                <a:ext uri="{FF2B5EF4-FFF2-40B4-BE49-F238E27FC236}">
                  <a16:creationId xmlns:a16="http://schemas.microsoft.com/office/drawing/2014/main" id="{0E0C80C5-45AD-1A93-45AE-FE4BE03258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45229" y="1163119"/>
              <a:ext cx="1276720" cy="134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40" rIns="9144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defTabSz="1828844">
                <a:buClr>
                  <a:srgbClr val="000000"/>
                </a:buClr>
                <a:defRPr/>
              </a:pPr>
              <a:r>
                <a:rPr lang="en-US" altLang="en-US" sz="3600" b="1" kern="0" dirty="0">
                  <a:solidFill>
                    <a:srgbClr val="FFFFFF"/>
                  </a:solidFill>
                  <a:latin typeface="+mn-lt"/>
                  <a:ea typeface="MS PGothic" charset="-128"/>
                </a:rPr>
                <a:t>During the Interview</a:t>
              </a:r>
            </a:p>
          </p:txBody>
        </p:sp>
        <p:sp>
          <p:nvSpPr>
            <p:cNvPr id="10" name="Puzzle piece 3" descr="puzzle piece light blue">
              <a:extLst>
                <a:ext uri="{FF2B5EF4-FFF2-40B4-BE49-F238E27FC236}">
                  <a16:creationId xmlns:a16="http://schemas.microsoft.com/office/drawing/2014/main" id="{198EAB56-CC3D-0780-90EA-4B59F94006F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4936" y="2086941"/>
              <a:ext cx="1688904" cy="1809415"/>
            </a:xfrm>
            <a:custGeom>
              <a:avLst/>
              <a:gdLst>
                <a:gd name="T0" fmla="*/ 2147483646 w 674"/>
                <a:gd name="T1" fmla="*/ 2147483646 h 667"/>
                <a:gd name="T2" fmla="*/ 2147483646 w 674"/>
                <a:gd name="T3" fmla="*/ 2147483646 h 667"/>
                <a:gd name="T4" fmla="*/ 2147483646 w 674"/>
                <a:gd name="T5" fmla="*/ 2147483646 h 667"/>
                <a:gd name="T6" fmla="*/ 2147483646 w 674"/>
                <a:gd name="T7" fmla="*/ 2147483646 h 667"/>
                <a:gd name="T8" fmla="*/ 2147483646 w 674"/>
                <a:gd name="T9" fmla="*/ 2147483646 h 667"/>
                <a:gd name="T10" fmla="*/ 2147483646 w 674"/>
                <a:gd name="T11" fmla="*/ 2147483646 h 667"/>
                <a:gd name="T12" fmla="*/ 2147483646 w 674"/>
                <a:gd name="T13" fmla="*/ 2147483646 h 667"/>
                <a:gd name="T14" fmla="*/ 2147483646 w 674"/>
                <a:gd name="T15" fmla="*/ 2147483646 h 667"/>
                <a:gd name="T16" fmla="*/ 2147483646 w 674"/>
                <a:gd name="T17" fmla="*/ 2147483646 h 667"/>
                <a:gd name="T18" fmla="*/ 2147483646 w 674"/>
                <a:gd name="T19" fmla="*/ 2147483646 h 667"/>
                <a:gd name="T20" fmla="*/ 2147483646 w 674"/>
                <a:gd name="T21" fmla="*/ 2147483646 h 667"/>
                <a:gd name="T22" fmla="*/ 2147483646 w 674"/>
                <a:gd name="T23" fmla="*/ 2147483646 h 667"/>
                <a:gd name="T24" fmla="*/ 2147483646 w 674"/>
                <a:gd name="T25" fmla="*/ 0 h 667"/>
                <a:gd name="T26" fmla="*/ 2147483646 w 674"/>
                <a:gd name="T27" fmla="*/ 2147483646 h 667"/>
                <a:gd name="T28" fmla="*/ 2147483646 w 674"/>
                <a:gd name="T29" fmla="*/ 2147483646 h 667"/>
                <a:gd name="T30" fmla="*/ 2147483646 w 674"/>
                <a:gd name="T31" fmla="*/ 2147483646 h 667"/>
                <a:gd name="T32" fmla="*/ 2147483646 w 674"/>
                <a:gd name="T33" fmla="*/ 2147483646 h 667"/>
                <a:gd name="T34" fmla="*/ 2147483646 w 674"/>
                <a:gd name="T35" fmla="*/ 2147483646 h 667"/>
                <a:gd name="T36" fmla="*/ 2147483646 w 674"/>
                <a:gd name="T37" fmla="*/ 2147483646 h 667"/>
                <a:gd name="T38" fmla="*/ 2147483646 w 674"/>
                <a:gd name="T39" fmla="*/ 2147483646 h 667"/>
                <a:gd name="T40" fmla="*/ 2147483646 w 674"/>
                <a:gd name="T41" fmla="*/ 2147483646 h 667"/>
                <a:gd name="T42" fmla="*/ 2147483646 w 674"/>
                <a:gd name="T43" fmla="*/ 2147483646 h 667"/>
                <a:gd name="T44" fmla="*/ 2147483646 w 674"/>
                <a:gd name="T45" fmla="*/ 2147483646 h 667"/>
                <a:gd name="T46" fmla="*/ 2147483646 w 674"/>
                <a:gd name="T47" fmla="*/ 2147483646 h 667"/>
                <a:gd name="T48" fmla="*/ 2147483646 w 674"/>
                <a:gd name="T49" fmla="*/ 2147483646 h 667"/>
                <a:gd name="T50" fmla="*/ 2147483646 w 674"/>
                <a:gd name="T51" fmla="*/ 2147483646 h 667"/>
                <a:gd name="T52" fmla="*/ 2147483646 w 674"/>
                <a:gd name="T53" fmla="*/ 2147483646 h 667"/>
                <a:gd name="T54" fmla="*/ 2147483646 w 674"/>
                <a:gd name="T55" fmla="*/ 2147483646 h 667"/>
                <a:gd name="T56" fmla="*/ 2147483646 w 674"/>
                <a:gd name="T57" fmla="*/ 2147483646 h 667"/>
                <a:gd name="T58" fmla="*/ 2147483646 w 674"/>
                <a:gd name="T59" fmla="*/ 2147483646 h 667"/>
                <a:gd name="T60" fmla="*/ 2147483646 w 674"/>
                <a:gd name="T61" fmla="*/ 2147483646 h 667"/>
                <a:gd name="T62" fmla="*/ 2147483646 w 674"/>
                <a:gd name="T63" fmla="*/ 2147483646 h 667"/>
                <a:gd name="T64" fmla="*/ 2147483646 w 674"/>
                <a:gd name="T65" fmla="*/ 2147483646 h 667"/>
                <a:gd name="T66" fmla="*/ 2147483646 w 674"/>
                <a:gd name="T67" fmla="*/ 2147483646 h 667"/>
                <a:gd name="T68" fmla="*/ 2147483646 w 674"/>
                <a:gd name="T69" fmla="*/ 2147483646 h 667"/>
                <a:gd name="T70" fmla="*/ 2147483646 w 674"/>
                <a:gd name="T71" fmla="*/ 2147483646 h 667"/>
                <a:gd name="T72" fmla="*/ 2147483646 w 674"/>
                <a:gd name="T73" fmla="*/ 2147483646 h 667"/>
                <a:gd name="T74" fmla="*/ 2147483646 w 674"/>
                <a:gd name="T75" fmla="*/ 2147483646 h 667"/>
                <a:gd name="T76" fmla="*/ 2147483646 w 674"/>
                <a:gd name="T77" fmla="*/ 2147483646 h 667"/>
                <a:gd name="T78" fmla="*/ 2147483646 w 674"/>
                <a:gd name="T79" fmla="*/ 2147483646 h 667"/>
                <a:gd name="T80" fmla="*/ 2147483646 w 674"/>
                <a:gd name="T81" fmla="*/ 2147483646 h 667"/>
                <a:gd name="T82" fmla="*/ 2147483646 w 674"/>
                <a:gd name="T83" fmla="*/ 2147483646 h 667"/>
                <a:gd name="T84" fmla="*/ 2147483646 w 674"/>
                <a:gd name="T85" fmla="*/ 2147483646 h 667"/>
                <a:gd name="T86" fmla="*/ 2147483646 w 674"/>
                <a:gd name="T87" fmla="*/ 2147483646 h 667"/>
                <a:gd name="T88" fmla="*/ 2147483646 w 674"/>
                <a:gd name="T89" fmla="*/ 2147483646 h 667"/>
                <a:gd name="T90" fmla="*/ 2147483646 w 674"/>
                <a:gd name="T91" fmla="*/ 2147483646 h 667"/>
                <a:gd name="T92" fmla="*/ 2147483646 w 674"/>
                <a:gd name="T93" fmla="*/ 2147483646 h 667"/>
                <a:gd name="T94" fmla="*/ 2147483646 w 674"/>
                <a:gd name="T95" fmla="*/ 2147483646 h 667"/>
                <a:gd name="T96" fmla="*/ 2147483646 w 674"/>
                <a:gd name="T97" fmla="*/ 2147483646 h 667"/>
                <a:gd name="T98" fmla="*/ 2147483646 w 674"/>
                <a:gd name="T99" fmla="*/ 2147483646 h 6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4"/>
                <a:gd name="T151" fmla="*/ 0 h 667"/>
                <a:gd name="T152" fmla="*/ 674 w 674"/>
                <a:gd name="T153" fmla="*/ 667 h 6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4" h="667">
                  <a:moveTo>
                    <a:pt x="0" y="142"/>
                  </a:moveTo>
                  <a:lnTo>
                    <a:pt x="270" y="142"/>
                  </a:lnTo>
                  <a:lnTo>
                    <a:pt x="275" y="140"/>
                  </a:lnTo>
                  <a:lnTo>
                    <a:pt x="279" y="138"/>
                  </a:lnTo>
                  <a:lnTo>
                    <a:pt x="283" y="136"/>
                  </a:lnTo>
                  <a:lnTo>
                    <a:pt x="285" y="134"/>
                  </a:lnTo>
                  <a:lnTo>
                    <a:pt x="287" y="131"/>
                  </a:lnTo>
                  <a:lnTo>
                    <a:pt x="289" y="129"/>
                  </a:lnTo>
                  <a:lnTo>
                    <a:pt x="289" y="126"/>
                  </a:lnTo>
                  <a:lnTo>
                    <a:pt x="290" y="124"/>
                  </a:lnTo>
                  <a:lnTo>
                    <a:pt x="289" y="121"/>
                  </a:lnTo>
                  <a:lnTo>
                    <a:pt x="289" y="118"/>
                  </a:lnTo>
                  <a:lnTo>
                    <a:pt x="286" y="113"/>
                  </a:lnTo>
                  <a:lnTo>
                    <a:pt x="282" y="105"/>
                  </a:lnTo>
                  <a:lnTo>
                    <a:pt x="277" y="99"/>
                  </a:lnTo>
                  <a:lnTo>
                    <a:pt x="268" y="85"/>
                  </a:lnTo>
                  <a:lnTo>
                    <a:pt x="263" y="77"/>
                  </a:lnTo>
                  <a:lnTo>
                    <a:pt x="262" y="73"/>
                  </a:lnTo>
                  <a:lnTo>
                    <a:pt x="260" y="69"/>
                  </a:lnTo>
                  <a:lnTo>
                    <a:pt x="259" y="65"/>
                  </a:lnTo>
                  <a:lnTo>
                    <a:pt x="258" y="61"/>
                  </a:lnTo>
                  <a:lnTo>
                    <a:pt x="258" y="57"/>
                  </a:lnTo>
                  <a:lnTo>
                    <a:pt x="258" y="52"/>
                  </a:lnTo>
                  <a:lnTo>
                    <a:pt x="259" y="48"/>
                  </a:lnTo>
                  <a:lnTo>
                    <a:pt x="260" y="43"/>
                  </a:lnTo>
                  <a:lnTo>
                    <a:pt x="262" y="38"/>
                  </a:lnTo>
                  <a:lnTo>
                    <a:pt x="264" y="33"/>
                  </a:lnTo>
                  <a:lnTo>
                    <a:pt x="267" y="29"/>
                  </a:lnTo>
                  <a:lnTo>
                    <a:pt x="270" y="26"/>
                  </a:lnTo>
                  <a:lnTo>
                    <a:pt x="273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5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7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3" y="9"/>
                  </a:lnTo>
                  <a:lnTo>
                    <a:pt x="388" y="12"/>
                  </a:lnTo>
                  <a:lnTo>
                    <a:pt x="392" y="14"/>
                  </a:lnTo>
                  <a:lnTo>
                    <a:pt x="396" y="17"/>
                  </a:lnTo>
                  <a:lnTo>
                    <a:pt x="400" y="21"/>
                  </a:lnTo>
                  <a:lnTo>
                    <a:pt x="404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3" y="37"/>
                  </a:lnTo>
                  <a:lnTo>
                    <a:pt x="415" y="41"/>
                  </a:lnTo>
                  <a:lnTo>
                    <a:pt x="416" y="46"/>
                  </a:lnTo>
                  <a:lnTo>
                    <a:pt x="417" y="51"/>
                  </a:lnTo>
                  <a:lnTo>
                    <a:pt x="417" y="55"/>
                  </a:lnTo>
                  <a:lnTo>
                    <a:pt x="416" y="59"/>
                  </a:lnTo>
                  <a:lnTo>
                    <a:pt x="414" y="67"/>
                  </a:lnTo>
                  <a:lnTo>
                    <a:pt x="410" y="75"/>
                  </a:lnTo>
                  <a:lnTo>
                    <a:pt x="406" y="83"/>
                  </a:lnTo>
                  <a:lnTo>
                    <a:pt x="395" y="98"/>
                  </a:lnTo>
                  <a:lnTo>
                    <a:pt x="390" y="104"/>
                  </a:lnTo>
                  <a:lnTo>
                    <a:pt x="386" y="112"/>
                  </a:lnTo>
                  <a:lnTo>
                    <a:pt x="383" y="118"/>
                  </a:lnTo>
                  <a:lnTo>
                    <a:pt x="382" y="121"/>
                  </a:lnTo>
                  <a:lnTo>
                    <a:pt x="382" y="124"/>
                  </a:lnTo>
                  <a:lnTo>
                    <a:pt x="382" y="126"/>
                  </a:lnTo>
                  <a:lnTo>
                    <a:pt x="383" y="129"/>
                  </a:lnTo>
                  <a:lnTo>
                    <a:pt x="384" y="132"/>
                  </a:lnTo>
                  <a:lnTo>
                    <a:pt x="386" y="134"/>
                  </a:lnTo>
                  <a:lnTo>
                    <a:pt x="389" y="136"/>
                  </a:lnTo>
                  <a:lnTo>
                    <a:pt x="393" y="138"/>
                  </a:lnTo>
                  <a:lnTo>
                    <a:pt x="397" y="140"/>
                  </a:lnTo>
                  <a:lnTo>
                    <a:pt x="403" y="142"/>
                  </a:lnTo>
                  <a:lnTo>
                    <a:pt x="674" y="142"/>
                  </a:lnTo>
                  <a:lnTo>
                    <a:pt x="674" y="336"/>
                  </a:lnTo>
                  <a:lnTo>
                    <a:pt x="672" y="342"/>
                  </a:lnTo>
                  <a:lnTo>
                    <a:pt x="670" y="346"/>
                  </a:lnTo>
                  <a:lnTo>
                    <a:pt x="668" y="350"/>
                  </a:lnTo>
                  <a:lnTo>
                    <a:pt x="666" y="352"/>
                  </a:lnTo>
                  <a:lnTo>
                    <a:pt x="664" y="355"/>
                  </a:lnTo>
                  <a:lnTo>
                    <a:pt x="661" y="356"/>
                  </a:lnTo>
                  <a:lnTo>
                    <a:pt x="659" y="357"/>
                  </a:lnTo>
                  <a:lnTo>
                    <a:pt x="656" y="357"/>
                  </a:lnTo>
                  <a:lnTo>
                    <a:pt x="653" y="357"/>
                  </a:lnTo>
                  <a:lnTo>
                    <a:pt x="651" y="356"/>
                  </a:lnTo>
                  <a:lnTo>
                    <a:pt x="645" y="353"/>
                  </a:lnTo>
                  <a:lnTo>
                    <a:pt x="639" y="350"/>
                  </a:lnTo>
                  <a:lnTo>
                    <a:pt x="631" y="345"/>
                  </a:lnTo>
                  <a:lnTo>
                    <a:pt x="624" y="340"/>
                  </a:lnTo>
                  <a:lnTo>
                    <a:pt x="617" y="335"/>
                  </a:lnTo>
                  <a:lnTo>
                    <a:pt x="609" y="331"/>
                  </a:lnTo>
                  <a:lnTo>
                    <a:pt x="601" y="328"/>
                  </a:lnTo>
                  <a:lnTo>
                    <a:pt x="597" y="326"/>
                  </a:lnTo>
                  <a:lnTo>
                    <a:pt x="593" y="325"/>
                  </a:lnTo>
                  <a:lnTo>
                    <a:pt x="589" y="325"/>
                  </a:lnTo>
                  <a:lnTo>
                    <a:pt x="585" y="325"/>
                  </a:lnTo>
                  <a:lnTo>
                    <a:pt x="580" y="326"/>
                  </a:lnTo>
                  <a:lnTo>
                    <a:pt x="576" y="327"/>
                  </a:lnTo>
                  <a:lnTo>
                    <a:pt x="571" y="329"/>
                  </a:lnTo>
                  <a:lnTo>
                    <a:pt x="566" y="332"/>
                  </a:lnTo>
                  <a:lnTo>
                    <a:pt x="562" y="334"/>
                  </a:lnTo>
                  <a:lnTo>
                    <a:pt x="559" y="337"/>
                  </a:lnTo>
                  <a:lnTo>
                    <a:pt x="555" y="341"/>
                  </a:lnTo>
                  <a:lnTo>
                    <a:pt x="552" y="344"/>
                  </a:lnTo>
                  <a:lnTo>
                    <a:pt x="546" y="352"/>
                  </a:lnTo>
                  <a:lnTo>
                    <a:pt x="541" y="361"/>
                  </a:lnTo>
                  <a:lnTo>
                    <a:pt x="539" y="366"/>
                  </a:lnTo>
                  <a:lnTo>
                    <a:pt x="537" y="371"/>
                  </a:lnTo>
                  <a:lnTo>
                    <a:pt x="534" y="382"/>
                  </a:lnTo>
                  <a:lnTo>
                    <a:pt x="533" y="392"/>
                  </a:lnTo>
                  <a:lnTo>
                    <a:pt x="532" y="397"/>
                  </a:lnTo>
                  <a:lnTo>
                    <a:pt x="532" y="403"/>
                  </a:lnTo>
                  <a:lnTo>
                    <a:pt x="532" y="414"/>
                  </a:lnTo>
                  <a:lnTo>
                    <a:pt x="533" y="424"/>
                  </a:lnTo>
                  <a:lnTo>
                    <a:pt x="536" y="435"/>
                  </a:lnTo>
                  <a:lnTo>
                    <a:pt x="539" y="446"/>
                  </a:lnTo>
                  <a:lnTo>
                    <a:pt x="541" y="450"/>
                  </a:lnTo>
                  <a:lnTo>
                    <a:pt x="544" y="455"/>
                  </a:lnTo>
                  <a:lnTo>
                    <a:pt x="546" y="459"/>
                  </a:lnTo>
                  <a:lnTo>
                    <a:pt x="550" y="463"/>
                  </a:lnTo>
                  <a:lnTo>
                    <a:pt x="554" y="467"/>
                  </a:lnTo>
                  <a:lnTo>
                    <a:pt x="557" y="471"/>
                  </a:lnTo>
                  <a:lnTo>
                    <a:pt x="561" y="475"/>
                  </a:lnTo>
                  <a:lnTo>
                    <a:pt x="565" y="478"/>
                  </a:lnTo>
                  <a:lnTo>
                    <a:pt x="570" y="480"/>
                  </a:lnTo>
                  <a:lnTo>
                    <a:pt x="574" y="482"/>
                  </a:lnTo>
                  <a:lnTo>
                    <a:pt x="578" y="483"/>
                  </a:lnTo>
                  <a:lnTo>
                    <a:pt x="583" y="484"/>
                  </a:lnTo>
                  <a:lnTo>
                    <a:pt x="587" y="484"/>
                  </a:lnTo>
                  <a:lnTo>
                    <a:pt x="591" y="484"/>
                  </a:lnTo>
                  <a:lnTo>
                    <a:pt x="599" y="481"/>
                  </a:lnTo>
                  <a:lnTo>
                    <a:pt x="603" y="480"/>
                  </a:lnTo>
                  <a:lnTo>
                    <a:pt x="607" y="477"/>
                  </a:lnTo>
                  <a:lnTo>
                    <a:pt x="615" y="473"/>
                  </a:lnTo>
                  <a:lnTo>
                    <a:pt x="630" y="462"/>
                  </a:lnTo>
                  <a:lnTo>
                    <a:pt x="638" y="457"/>
                  </a:lnTo>
                  <a:lnTo>
                    <a:pt x="644" y="453"/>
                  </a:lnTo>
                  <a:lnTo>
                    <a:pt x="647" y="452"/>
                  </a:lnTo>
                  <a:lnTo>
                    <a:pt x="650" y="450"/>
                  </a:lnTo>
                  <a:lnTo>
                    <a:pt x="653" y="450"/>
                  </a:lnTo>
                  <a:lnTo>
                    <a:pt x="656" y="449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4" y="452"/>
                  </a:lnTo>
                  <a:lnTo>
                    <a:pt x="666" y="454"/>
                  </a:lnTo>
                  <a:lnTo>
                    <a:pt x="668" y="457"/>
                  </a:lnTo>
                  <a:lnTo>
                    <a:pt x="671" y="461"/>
                  </a:lnTo>
                  <a:lnTo>
                    <a:pt x="673" y="465"/>
                  </a:lnTo>
                  <a:lnTo>
                    <a:pt x="674" y="471"/>
                  </a:lnTo>
                  <a:lnTo>
                    <a:pt x="674" y="667"/>
                  </a:lnTo>
                  <a:lnTo>
                    <a:pt x="0" y="667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1192E8"/>
            </a:solidFill>
            <a:ln w="6350" cmpd="sng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pPr defTabSz="1828844">
                <a:defRPr/>
              </a:pPr>
              <a:endParaRPr lang="en-US" sz="2667" kern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Text Box 3">
              <a:extLst>
                <a:ext uri="{FF2B5EF4-FFF2-40B4-BE49-F238E27FC236}">
                  <a16:creationId xmlns:a16="http://schemas.microsoft.com/office/drawing/2014/main" id="{CC58904F-159E-6A56-499A-2D3F0E1E284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33247" y="2645442"/>
              <a:ext cx="1276720" cy="134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40" rIns="9144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defTabSz="1828844">
                <a:buClr>
                  <a:srgbClr val="000000"/>
                </a:buClr>
                <a:defRPr/>
              </a:pPr>
              <a:r>
                <a:rPr lang="en-US" altLang="en-US" sz="3600" b="1" kern="0" dirty="0">
                  <a:solidFill>
                    <a:schemeClr val="bg1"/>
                  </a:solidFill>
                  <a:latin typeface="+mn-lt"/>
                  <a:ea typeface="MS PGothic" charset="-128"/>
                </a:rPr>
                <a:t>After the Interview </a:t>
              </a:r>
            </a:p>
          </p:txBody>
        </p:sp>
        <p:sp>
          <p:nvSpPr>
            <p:cNvPr id="13" name="Puzzle piece 4" descr="puzzle piece theme blue 60">
              <a:extLst>
                <a:ext uri="{FF2B5EF4-FFF2-40B4-BE49-F238E27FC236}">
                  <a16:creationId xmlns:a16="http://schemas.microsoft.com/office/drawing/2014/main" id="{93D106CC-EDCA-D832-872A-681E367808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5798" y="2086941"/>
              <a:ext cx="2060917" cy="1809415"/>
            </a:xfrm>
            <a:custGeom>
              <a:avLst/>
              <a:gdLst>
                <a:gd name="T0" fmla="*/ 2147483646 w 822"/>
                <a:gd name="T1" fmla="*/ 2147483646 h 667"/>
                <a:gd name="T2" fmla="*/ 2147483646 w 822"/>
                <a:gd name="T3" fmla="*/ 2147483646 h 667"/>
                <a:gd name="T4" fmla="*/ 2147483646 w 822"/>
                <a:gd name="T5" fmla="*/ 2147483646 h 667"/>
                <a:gd name="T6" fmla="*/ 2147483646 w 822"/>
                <a:gd name="T7" fmla="*/ 2147483646 h 667"/>
                <a:gd name="T8" fmla="*/ 2147483646 w 822"/>
                <a:gd name="T9" fmla="*/ 2147483646 h 667"/>
                <a:gd name="T10" fmla="*/ 2147483646 w 822"/>
                <a:gd name="T11" fmla="*/ 2147483646 h 667"/>
                <a:gd name="T12" fmla="*/ 2147483646 w 822"/>
                <a:gd name="T13" fmla="*/ 2147483646 h 667"/>
                <a:gd name="T14" fmla="*/ 2147483646 w 822"/>
                <a:gd name="T15" fmla="*/ 2147483646 h 667"/>
                <a:gd name="T16" fmla="*/ 2147483646 w 822"/>
                <a:gd name="T17" fmla="*/ 2147483646 h 667"/>
                <a:gd name="T18" fmla="*/ 2147483646 w 822"/>
                <a:gd name="T19" fmla="*/ 2147483646 h 667"/>
                <a:gd name="T20" fmla="*/ 2147483646 w 822"/>
                <a:gd name="T21" fmla="*/ 2147483646 h 667"/>
                <a:gd name="T22" fmla="*/ 2147483646 w 822"/>
                <a:gd name="T23" fmla="*/ 2147483646 h 667"/>
                <a:gd name="T24" fmla="*/ 2147483646 w 822"/>
                <a:gd name="T25" fmla="*/ 2147483646 h 667"/>
                <a:gd name="T26" fmla="*/ 2147483646 w 822"/>
                <a:gd name="T27" fmla="*/ 2147483646 h 667"/>
                <a:gd name="T28" fmla="*/ 2147483646 w 822"/>
                <a:gd name="T29" fmla="*/ 2147483646 h 667"/>
                <a:gd name="T30" fmla="*/ 2147483646 w 822"/>
                <a:gd name="T31" fmla="*/ 2147483646 h 667"/>
                <a:gd name="T32" fmla="*/ 2147483646 w 822"/>
                <a:gd name="T33" fmla="*/ 2147483646 h 667"/>
                <a:gd name="T34" fmla="*/ 2147483646 w 822"/>
                <a:gd name="T35" fmla="*/ 2147483646 h 667"/>
                <a:gd name="T36" fmla="*/ 2147483646 w 822"/>
                <a:gd name="T37" fmla="*/ 2147483646 h 667"/>
                <a:gd name="T38" fmla="*/ 2147483646 w 822"/>
                <a:gd name="T39" fmla="*/ 0 h 667"/>
                <a:gd name="T40" fmla="*/ 2147483646 w 822"/>
                <a:gd name="T41" fmla="*/ 2147483646 h 667"/>
                <a:gd name="T42" fmla="*/ 2147483646 w 822"/>
                <a:gd name="T43" fmla="*/ 2147483646 h 667"/>
                <a:gd name="T44" fmla="*/ 2147483646 w 822"/>
                <a:gd name="T45" fmla="*/ 2147483646 h 667"/>
                <a:gd name="T46" fmla="*/ 2147483646 w 822"/>
                <a:gd name="T47" fmla="*/ 2147483646 h 667"/>
                <a:gd name="T48" fmla="*/ 2147483646 w 822"/>
                <a:gd name="T49" fmla="*/ 2147483646 h 667"/>
                <a:gd name="T50" fmla="*/ 2147483646 w 822"/>
                <a:gd name="T51" fmla="*/ 2147483646 h 667"/>
                <a:gd name="T52" fmla="*/ 2147483646 w 822"/>
                <a:gd name="T53" fmla="*/ 2147483646 h 667"/>
                <a:gd name="T54" fmla="*/ 2147483646 w 822"/>
                <a:gd name="T55" fmla="*/ 2147483646 h 667"/>
                <a:gd name="T56" fmla="*/ 2147483646 w 822"/>
                <a:gd name="T57" fmla="*/ 2147483646 h 667"/>
                <a:gd name="T58" fmla="*/ 2147483646 w 822"/>
                <a:gd name="T59" fmla="*/ 2147483646 h 667"/>
                <a:gd name="T60" fmla="*/ 2147483646 w 822"/>
                <a:gd name="T61" fmla="*/ 2147483646 h 667"/>
                <a:gd name="T62" fmla="*/ 2147483646 w 822"/>
                <a:gd name="T63" fmla="*/ 2147483646 h 667"/>
                <a:gd name="T64" fmla="*/ 2147483646 w 822"/>
                <a:gd name="T65" fmla="*/ 2147483646 h 667"/>
                <a:gd name="T66" fmla="*/ 2147483646 w 822"/>
                <a:gd name="T67" fmla="*/ 2147483646 h 667"/>
                <a:gd name="T68" fmla="*/ 2147483646 w 822"/>
                <a:gd name="T69" fmla="*/ 2147483646 h 667"/>
                <a:gd name="T70" fmla="*/ 2147483646 w 822"/>
                <a:gd name="T71" fmla="*/ 2147483646 h 667"/>
                <a:gd name="T72" fmla="*/ 2147483646 w 822"/>
                <a:gd name="T73" fmla="*/ 2147483646 h 667"/>
                <a:gd name="T74" fmla="*/ 2147483646 w 822"/>
                <a:gd name="T75" fmla="*/ 2147483646 h 667"/>
                <a:gd name="T76" fmla="*/ 2147483646 w 822"/>
                <a:gd name="T77" fmla="*/ 2147483646 h 667"/>
                <a:gd name="T78" fmla="*/ 2147483646 w 822"/>
                <a:gd name="T79" fmla="*/ 2147483646 h 667"/>
                <a:gd name="T80" fmla="*/ 2147483646 w 822"/>
                <a:gd name="T81" fmla="*/ 2147483646 h 667"/>
                <a:gd name="T82" fmla="*/ 2147483646 w 822"/>
                <a:gd name="T83" fmla="*/ 2147483646 h 667"/>
                <a:gd name="T84" fmla="*/ 2147483646 w 822"/>
                <a:gd name="T85" fmla="*/ 2147483646 h 667"/>
                <a:gd name="T86" fmla="*/ 2147483646 w 822"/>
                <a:gd name="T87" fmla="*/ 2147483646 h 667"/>
                <a:gd name="T88" fmla="*/ 2147483646 w 822"/>
                <a:gd name="T89" fmla="*/ 2147483646 h 667"/>
                <a:gd name="T90" fmla="*/ 2147483646 w 822"/>
                <a:gd name="T91" fmla="*/ 2147483646 h 667"/>
                <a:gd name="T92" fmla="*/ 2147483646 w 822"/>
                <a:gd name="T93" fmla="*/ 2147483646 h 667"/>
                <a:gd name="T94" fmla="*/ 2147483646 w 822"/>
                <a:gd name="T95" fmla="*/ 2147483646 h 667"/>
                <a:gd name="T96" fmla="*/ 2147483646 w 822"/>
                <a:gd name="T97" fmla="*/ 2147483646 h 66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667"/>
                <a:gd name="T149" fmla="*/ 822 w 822"/>
                <a:gd name="T150" fmla="*/ 667 h 66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667">
                  <a:moveTo>
                    <a:pt x="35" y="332"/>
                  </a:moveTo>
                  <a:lnTo>
                    <a:pt x="39" y="329"/>
                  </a:lnTo>
                  <a:lnTo>
                    <a:pt x="44" y="327"/>
                  </a:lnTo>
                  <a:lnTo>
                    <a:pt x="48" y="326"/>
                  </a:lnTo>
                  <a:lnTo>
                    <a:pt x="53" y="325"/>
                  </a:lnTo>
                  <a:lnTo>
                    <a:pt x="57" y="325"/>
                  </a:lnTo>
                  <a:lnTo>
                    <a:pt x="61" y="325"/>
                  </a:lnTo>
                  <a:lnTo>
                    <a:pt x="66" y="326"/>
                  </a:lnTo>
                  <a:lnTo>
                    <a:pt x="70" y="327"/>
                  </a:lnTo>
                  <a:lnTo>
                    <a:pt x="77" y="331"/>
                  </a:lnTo>
                  <a:lnTo>
                    <a:pt x="85" y="335"/>
                  </a:lnTo>
                  <a:lnTo>
                    <a:pt x="92" y="340"/>
                  </a:lnTo>
                  <a:lnTo>
                    <a:pt x="99" y="345"/>
                  </a:lnTo>
                  <a:lnTo>
                    <a:pt x="107" y="349"/>
                  </a:lnTo>
                  <a:lnTo>
                    <a:pt x="113" y="353"/>
                  </a:lnTo>
                  <a:lnTo>
                    <a:pt x="119" y="356"/>
                  </a:lnTo>
                  <a:lnTo>
                    <a:pt x="121" y="357"/>
                  </a:lnTo>
                  <a:lnTo>
                    <a:pt x="124" y="357"/>
                  </a:lnTo>
                  <a:lnTo>
                    <a:pt x="129" y="356"/>
                  </a:lnTo>
                  <a:lnTo>
                    <a:pt x="132" y="355"/>
                  </a:lnTo>
                  <a:lnTo>
                    <a:pt x="134" y="353"/>
                  </a:lnTo>
                  <a:lnTo>
                    <a:pt x="136" y="350"/>
                  </a:lnTo>
                  <a:lnTo>
                    <a:pt x="138" y="347"/>
                  </a:lnTo>
                  <a:lnTo>
                    <a:pt x="140" y="343"/>
                  </a:lnTo>
                  <a:lnTo>
                    <a:pt x="142" y="338"/>
                  </a:lnTo>
                  <a:lnTo>
                    <a:pt x="142" y="142"/>
                  </a:lnTo>
                  <a:lnTo>
                    <a:pt x="414" y="142"/>
                  </a:lnTo>
                  <a:lnTo>
                    <a:pt x="421" y="139"/>
                  </a:lnTo>
                  <a:lnTo>
                    <a:pt x="426" y="137"/>
                  </a:lnTo>
                  <a:lnTo>
                    <a:pt x="430" y="134"/>
                  </a:lnTo>
                  <a:lnTo>
                    <a:pt x="432" y="130"/>
                  </a:lnTo>
                  <a:lnTo>
                    <a:pt x="434" y="127"/>
                  </a:lnTo>
                  <a:lnTo>
                    <a:pt x="435" y="123"/>
                  </a:lnTo>
                  <a:lnTo>
                    <a:pt x="434" y="120"/>
                  </a:lnTo>
                  <a:lnTo>
                    <a:pt x="433" y="116"/>
                  </a:lnTo>
                  <a:lnTo>
                    <a:pt x="429" y="108"/>
                  </a:lnTo>
                  <a:lnTo>
                    <a:pt x="424" y="100"/>
                  </a:lnTo>
                  <a:lnTo>
                    <a:pt x="418" y="92"/>
                  </a:lnTo>
                  <a:lnTo>
                    <a:pt x="413" y="84"/>
                  </a:lnTo>
                  <a:lnTo>
                    <a:pt x="409" y="77"/>
                  </a:lnTo>
                  <a:lnTo>
                    <a:pt x="406" y="71"/>
                  </a:lnTo>
                  <a:lnTo>
                    <a:pt x="405" y="67"/>
                  </a:lnTo>
                  <a:lnTo>
                    <a:pt x="404" y="64"/>
                  </a:lnTo>
                  <a:lnTo>
                    <a:pt x="403" y="58"/>
                  </a:lnTo>
                  <a:lnTo>
                    <a:pt x="403" y="52"/>
                  </a:lnTo>
                  <a:lnTo>
                    <a:pt x="404" y="46"/>
                  </a:lnTo>
                  <a:lnTo>
                    <a:pt x="406" y="39"/>
                  </a:lnTo>
                  <a:lnTo>
                    <a:pt x="408" y="34"/>
                  </a:lnTo>
                  <a:lnTo>
                    <a:pt x="411" y="29"/>
                  </a:lnTo>
                  <a:lnTo>
                    <a:pt x="415" y="25"/>
                  </a:lnTo>
                  <a:lnTo>
                    <a:pt x="419" y="21"/>
                  </a:lnTo>
                  <a:lnTo>
                    <a:pt x="424" y="17"/>
                  </a:lnTo>
                  <a:lnTo>
                    <a:pt x="430" y="13"/>
                  </a:lnTo>
                  <a:lnTo>
                    <a:pt x="435" y="10"/>
                  </a:lnTo>
                  <a:lnTo>
                    <a:pt x="443" y="7"/>
                  </a:lnTo>
                  <a:lnTo>
                    <a:pt x="449" y="5"/>
                  </a:lnTo>
                  <a:lnTo>
                    <a:pt x="456" y="3"/>
                  </a:lnTo>
                  <a:lnTo>
                    <a:pt x="463" y="1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5" y="0"/>
                  </a:lnTo>
                  <a:lnTo>
                    <a:pt x="492" y="0"/>
                  </a:lnTo>
                  <a:lnTo>
                    <a:pt x="499" y="1"/>
                  </a:lnTo>
                  <a:lnTo>
                    <a:pt x="506" y="2"/>
                  </a:lnTo>
                  <a:lnTo>
                    <a:pt x="513" y="4"/>
                  </a:lnTo>
                  <a:lnTo>
                    <a:pt x="520" y="6"/>
                  </a:lnTo>
                  <a:lnTo>
                    <a:pt x="525" y="8"/>
                  </a:lnTo>
                  <a:lnTo>
                    <a:pt x="528" y="9"/>
                  </a:lnTo>
                  <a:lnTo>
                    <a:pt x="534" y="13"/>
                  </a:lnTo>
                  <a:lnTo>
                    <a:pt x="540" y="17"/>
                  </a:lnTo>
                  <a:lnTo>
                    <a:pt x="545" y="21"/>
                  </a:lnTo>
                  <a:lnTo>
                    <a:pt x="548" y="24"/>
                  </a:lnTo>
                  <a:lnTo>
                    <a:pt x="550" y="26"/>
                  </a:lnTo>
                  <a:lnTo>
                    <a:pt x="555" y="32"/>
                  </a:lnTo>
                  <a:lnTo>
                    <a:pt x="558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0" y="61"/>
                  </a:lnTo>
                  <a:lnTo>
                    <a:pt x="559" y="64"/>
                  </a:lnTo>
                  <a:lnTo>
                    <a:pt x="558" y="68"/>
                  </a:lnTo>
                  <a:lnTo>
                    <a:pt x="554" y="75"/>
                  </a:lnTo>
                  <a:lnTo>
                    <a:pt x="552" y="79"/>
                  </a:lnTo>
                  <a:lnTo>
                    <a:pt x="550" y="83"/>
                  </a:lnTo>
                  <a:lnTo>
                    <a:pt x="540" y="96"/>
                  </a:lnTo>
                  <a:lnTo>
                    <a:pt x="534" y="106"/>
                  </a:lnTo>
                  <a:lnTo>
                    <a:pt x="531" y="111"/>
                  </a:lnTo>
                  <a:lnTo>
                    <a:pt x="529" y="115"/>
                  </a:lnTo>
                  <a:lnTo>
                    <a:pt x="527" y="119"/>
                  </a:lnTo>
                  <a:lnTo>
                    <a:pt x="527" y="123"/>
                  </a:lnTo>
                  <a:lnTo>
                    <a:pt x="527" y="127"/>
                  </a:lnTo>
                  <a:lnTo>
                    <a:pt x="527" y="129"/>
                  </a:lnTo>
                  <a:lnTo>
                    <a:pt x="528" y="130"/>
                  </a:lnTo>
                  <a:lnTo>
                    <a:pt x="530" y="132"/>
                  </a:lnTo>
                  <a:lnTo>
                    <a:pt x="531" y="134"/>
                  </a:lnTo>
                  <a:lnTo>
                    <a:pt x="535" y="137"/>
                  </a:lnTo>
                  <a:lnTo>
                    <a:pt x="538" y="138"/>
                  </a:lnTo>
                  <a:lnTo>
                    <a:pt x="541" y="140"/>
                  </a:lnTo>
                  <a:lnTo>
                    <a:pt x="548" y="142"/>
                  </a:lnTo>
                  <a:lnTo>
                    <a:pt x="822" y="142"/>
                  </a:lnTo>
                  <a:lnTo>
                    <a:pt x="822" y="667"/>
                  </a:lnTo>
                  <a:lnTo>
                    <a:pt x="142" y="667"/>
                  </a:lnTo>
                  <a:lnTo>
                    <a:pt x="142" y="470"/>
                  </a:lnTo>
                  <a:lnTo>
                    <a:pt x="138" y="460"/>
                  </a:lnTo>
                  <a:lnTo>
                    <a:pt x="136" y="456"/>
                  </a:lnTo>
                  <a:lnTo>
                    <a:pt x="134" y="454"/>
                  </a:lnTo>
                  <a:lnTo>
                    <a:pt x="132" y="451"/>
                  </a:lnTo>
                  <a:lnTo>
                    <a:pt x="129" y="450"/>
                  </a:lnTo>
                  <a:lnTo>
                    <a:pt x="127" y="449"/>
                  </a:lnTo>
                  <a:lnTo>
                    <a:pt x="124" y="449"/>
                  </a:lnTo>
                  <a:lnTo>
                    <a:pt x="121" y="450"/>
                  </a:lnTo>
                  <a:lnTo>
                    <a:pt x="118" y="451"/>
                  </a:lnTo>
                  <a:lnTo>
                    <a:pt x="112" y="454"/>
                  </a:lnTo>
                  <a:lnTo>
                    <a:pt x="106" y="458"/>
                  </a:lnTo>
                  <a:lnTo>
                    <a:pt x="98" y="463"/>
                  </a:lnTo>
                  <a:lnTo>
                    <a:pt x="83" y="473"/>
                  </a:lnTo>
                  <a:lnTo>
                    <a:pt x="75" y="478"/>
                  </a:lnTo>
                  <a:lnTo>
                    <a:pt x="72" y="480"/>
                  </a:lnTo>
                  <a:lnTo>
                    <a:pt x="68" y="481"/>
                  </a:lnTo>
                  <a:lnTo>
                    <a:pt x="59" y="484"/>
                  </a:lnTo>
                  <a:lnTo>
                    <a:pt x="55" y="484"/>
                  </a:lnTo>
                  <a:lnTo>
                    <a:pt x="51" y="484"/>
                  </a:lnTo>
                  <a:lnTo>
                    <a:pt x="47" y="483"/>
                  </a:lnTo>
                  <a:lnTo>
                    <a:pt x="42" y="482"/>
                  </a:lnTo>
                  <a:lnTo>
                    <a:pt x="38" y="480"/>
                  </a:lnTo>
                  <a:lnTo>
                    <a:pt x="34" y="478"/>
                  </a:lnTo>
                  <a:lnTo>
                    <a:pt x="26" y="471"/>
                  </a:lnTo>
                  <a:lnTo>
                    <a:pt x="22" y="467"/>
                  </a:lnTo>
                  <a:lnTo>
                    <a:pt x="19" y="463"/>
                  </a:lnTo>
                  <a:lnTo>
                    <a:pt x="12" y="455"/>
                  </a:lnTo>
                  <a:lnTo>
                    <a:pt x="10" y="450"/>
                  </a:lnTo>
                  <a:lnTo>
                    <a:pt x="8" y="446"/>
                  </a:lnTo>
                  <a:lnTo>
                    <a:pt x="4" y="435"/>
                  </a:lnTo>
                  <a:lnTo>
                    <a:pt x="3" y="429"/>
                  </a:lnTo>
                  <a:lnTo>
                    <a:pt x="2" y="424"/>
                  </a:lnTo>
                  <a:lnTo>
                    <a:pt x="1" y="414"/>
                  </a:lnTo>
                  <a:lnTo>
                    <a:pt x="0" y="403"/>
                  </a:lnTo>
                  <a:lnTo>
                    <a:pt x="1" y="392"/>
                  </a:lnTo>
                  <a:lnTo>
                    <a:pt x="3" y="382"/>
                  </a:lnTo>
                  <a:lnTo>
                    <a:pt x="6" y="371"/>
                  </a:lnTo>
                  <a:lnTo>
                    <a:pt x="7" y="366"/>
                  </a:lnTo>
                  <a:lnTo>
                    <a:pt x="9" y="361"/>
                  </a:lnTo>
                  <a:lnTo>
                    <a:pt x="14" y="352"/>
                  </a:lnTo>
                  <a:lnTo>
                    <a:pt x="18" y="348"/>
                  </a:lnTo>
                  <a:lnTo>
                    <a:pt x="21" y="344"/>
                  </a:lnTo>
                  <a:lnTo>
                    <a:pt x="27" y="337"/>
                  </a:lnTo>
                  <a:lnTo>
                    <a:pt x="31" y="334"/>
                  </a:lnTo>
                  <a:lnTo>
                    <a:pt x="35" y="332"/>
                  </a:lnTo>
                  <a:close/>
                </a:path>
              </a:pathLst>
            </a:custGeom>
            <a:solidFill>
              <a:srgbClr val="81CFFF"/>
            </a:solidFill>
            <a:ln w="6350" cmpd="sng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pPr defTabSz="1828844">
                <a:defRPr/>
              </a:pPr>
              <a:endParaRPr lang="en-US" sz="2667" kern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Text Box 4">
              <a:extLst>
                <a:ext uri="{FF2B5EF4-FFF2-40B4-BE49-F238E27FC236}">
                  <a16:creationId xmlns:a16="http://schemas.microsoft.com/office/drawing/2014/main" id="{5B9D209F-6482-5AE7-6521-77807F4C8C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45229" y="2645442"/>
              <a:ext cx="1276720" cy="134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40" rIns="91440" anchor="ctr" anchorCtr="1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defTabSz="1828844">
                <a:buClr>
                  <a:srgbClr val="000000"/>
                </a:buClr>
                <a:defRPr/>
              </a:pPr>
              <a:r>
                <a:rPr lang="en-US" altLang="en-US" sz="3600" b="1" kern="0" dirty="0">
                  <a:solidFill>
                    <a:schemeClr val="bg1"/>
                  </a:solidFill>
                  <a:latin typeface="+mn-lt"/>
                  <a:ea typeface="MS PGothic" charset="-128"/>
                </a:rPr>
                <a:t>Interview Types</a:t>
              </a:r>
            </a:p>
          </p:txBody>
        </p:sp>
      </p:grpSp>
      <p:pic>
        <p:nvPicPr>
          <p:cNvPr id="15" name="Graphic 14">
            <a:extLst>
              <a:ext uri="{FF2B5EF4-FFF2-40B4-BE49-F238E27FC236}">
                <a16:creationId xmlns:a16="http://schemas.microsoft.com/office/drawing/2014/main" id="{6EB32561-564E-A940-EDE2-F13233C9C0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38385" y="1900094"/>
            <a:ext cx="2343661" cy="2343661"/>
          </a:xfrm>
          <a:prstGeom prst="rect">
            <a:avLst/>
          </a:prstGeom>
        </p:spPr>
      </p:pic>
      <p:pic>
        <p:nvPicPr>
          <p:cNvPr id="19" name="Graphic 18" descr="Boardroom with solid fill">
            <a:extLst>
              <a:ext uri="{FF2B5EF4-FFF2-40B4-BE49-F238E27FC236}">
                <a16:creationId xmlns:a16="http://schemas.microsoft.com/office/drawing/2014/main" id="{0D814F63-3BBB-6C62-721F-9BE50B2440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363294" y="1681010"/>
            <a:ext cx="2781827" cy="2781827"/>
          </a:xfrm>
          <a:prstGeom prst="rect">
            <a:avLst/>
          </a:prstGeom>
        </p:spPr>
      </p:pic>
      <p:pic>
        <p:nvPicPr>
          <p:cNvPr id="28" name="Graphic 27" descr="Hamburger Menu Icon with solid fill">
            <a:extLst>
              <a:ext uri="{FF2B5EF4-FFF2-40B4-BE49-F238E27FC236}">
                <a16:creationId xmlns:a16="http://schemas.microsoft.com/office/drawing/2014/main" id="{63BB2580-26DD-BD7E-F638-AD12E28E68D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629913" y="9088641"/>
            <a:ext cx="2438400" cy="2438400"/>
          </a:xfrm>
          <a:prstGeom prst="rect">
            <a:avLst/>
          </a:prstGeom>
        </p:spPr>
      </p:pic>
      <p:pic>
        <p:nvPicPr>
          <p:cNvPr id="30" name="Graphic 29" descr="Handshake outline">
            <a:extLst>
              <a:ext uri="{FF2B5EF4-FFF2-40B4-BE49-F238E27FC236}">
                <a16:creationId xmlns:a16="http://schemas.microsoft.com/office/drawing/2014/main" id="{6FD09159-5938-B735-70DA-0AB7791254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07943" y="8903757"/>
            <a:ext cx="2604544" cy="2604544"/>
          </a:xfrm>
          <a:prstGeom prst="rect">
            <a:avLst/>
          </a:prstGeom>
        </p:spPr>
      </p:pic>
      <p:sp>
        <p:nvSpPr>
          <p:cNvPr id="17" name="Footer Placeholder 6">
            <a:extLst>
              <a:ext uri="{FF2B5EF4-FFF2-40B4-BE49-F238E27FC236}">
                <a16:creationId xmlns:a16="http://schemas.microsoft.com/office/drawing/2014/main" id="{0C4B4CA6-F2ED-4469-DF06-8216D8FF27E4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5028244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AAC46E2B-6604-3A89-7F5C-C486D85E5E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9C4A704-110E-9C4F-CF3E-73E0F7F45FC7}"/>
              </a:ext>
            </a:extLst>
          </p:cNvPr>
          <p:cNvSpPr txBox="1"/>
          <p:nvPr/>
        </p:nvSpPr>
        <p:spPr>
          <a:xfrm>
            <a:off x="25971910" y="9114503"/>
            <a:ext cx="0" cy="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19DF3B-5223-C9F6-7E27-B104A5B699BE}"/>
              </a:ext>
            </a:extLst>
          </p:cNvPr>
          <p:cNvSpPr txBox="1">
            <a:spLocks/>
          </p:cNvSpPr>
          <p:nvPr/>
        </p:nvSpPr>
        <p:spPr>
          <a:xfrm>
            <a:off x="568323" y="576072"/>
            <a:ext cx="7307985" cy="62819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457200" bIns="0"/>
          <a:lstStyle>
            <a:lvl1pPr marL="0" marR="0" indent="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8800" kern="0" dirty="0">
                <a:solidFill>
                  <a:schemeClr val="tx1"/>
                </a:solidFill>
              </a:rPr>
              <a:t>Preparing for </a:t>
            </a:r>
            <a:br>
              <a:rPr lang="en-US" sz="8800" kern="0" dirty="0">
                <a:solidFill>
                  <a:schemeClr val="tx1"/>
                </a:solidFill>
              </a:rPr>
            </a:br>
            <a:r>
              <a:rPr lang="en-US" sz="8800" kern="0" dirty="0">
                <a:solidFill>
                  <a:schemeClr val="tx1"/>
                </a:solidFill>
              </a:rPr>
              <a:t>Your Interview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0C04A05-5A07-71B6-B8B1-909DE8CD41C8}"/>
              </a:ext>
            </a:extLst>
          </p:cNvPr>
          <p:cNvSpPr txBox="1">
            <a:spLocks/>
          </p:cNvSpPr>
          <p:nvPr/>
        </p:nvSpPr>
        <p:spPr>
          <a:xfrm>
            <a:off x="12668308" y="722376"/>
            <a:ext cx="4951413" cy="4567428"/>
          </a:xfrm>
          <a:prstGeom prst="rect">
            <a:avLst/>
          </a:prstGeom>
        </p:spPr>
        <p:txBody>
          <a:bodyPr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329184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658368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987552" marR="0" indent="-329184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36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4000" kern="0" dirty="0">
                <a:latin typeface="+mn-lt"/>
              </a:rPr>
              <a:t>1. Research </a:t>
            </a:r>
            <a:br>
              <a:rPr lang="en-US" kern="0" dirty="0">
                <a:solidFill>
                  <a:schemeClr val="accent1"/>
                </a:solidFill>
                <a:latin typeface="+mn-lt"/>
              </a:rPr>
            </a:br>
            <a:endParaRPr lang="en-US" kern="0" dirty="0">
              <a:solidFill>
                <a:schemeClr val="accent1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en-US" kern="0" dirty="0">
                <a:solidFill>
                  <a:schemeClr val="accent1"/>
                </a:solidFill>
                <a:latin typeface="+mn-lt"/>
              </a:rPr>
              <a:t>- Learn about the company and the industry </a:t>
            </a:r>
          </a:p>
          <a:p>
            <a:pPr>
              <a:spcAft>
                <a:spcPts val="1200"/>
              </a:spcAft>
            </a:pPr>
            <a:r>
              <a:rPr lang="en-US" kern="0" dirty="0">
                <a:solidFill>
                  <a:schemeClr val="accent1"/>
                </a:solidFill>
                <a:latin typeface="+mn-lt"/>
              </a:rPr>
              <a:t>- Understand the job description </a:t>
            </a:r>
          </a:p>
        </p:txBody>
      </p:sp>
      <p:pic>
        <p:nvPicPr>
          <p:cNvPr id="10" name="Graphic 9" descr="Research outline">
            <a:extLst>
              <a:ext uri="{FF2B5EF4-FFF2-40B4-BE49-F238E27FC236}">
                <a16:creationId xmlns:a16="http://schemas.microsoft.com/office/drawing/2014/main" id="{EEFC13A0-7267-9148-C1AC-29788D283E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873906" y="4640580"/>
            <a:ext cx="1368879" cy="1368879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158F4762-91FD-10FD-CB60-23D2DB9237C5}"/>
              </a:ext>
            </a:extLst>
          </p:cNvPr>
          <p:cNvSpPr txBox="1">
            <a:spLocks/>
          </p:cNvSpPr>
          <p:nvPr/>
        </p:nvSpPr>
        <p:spPr>
          <a:xfrm>
            <a:off x="18665926" y="722376"/>
            <a:ext cx="4951413" cy="4567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219456" marR="0" indent="-219456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438912" marR="0" indent="-219456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658368" marR="0" indent="-219456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4000" kern="0" dirty="0">
                <a:latin typeface="+mn-lt"/>
              </a:rPr>
              <a:t>2. Social Media</a:t>
            </a:r>
            <a:br>
              <a:rPr lang="en-US" sz="3600" kern="0" dirty="0">
                <a:solidFill>
                  <a:schemeClr val="accent1"/>
                </a:solidFill>
                <a:latin typeface="+mn-lt"/>
              </a:rPr>
            </a:br>
            <a:endParaRPr lang="en-US" sz="3600" kern="0" dirty="0">
              <a:solidFill>
                <a:schemeClr val="accent1"/>
              </a:solidFill>
              <a:latin typeface="+mn-lt"/>
            </a:endParaRPr>
          </a:p>
          <a:p>
            <a:r>
              <a:rPr lang="en-US" sz="3600" kern="0" dirty="0">
                <a:solidFill>
                  <a:schemeClr val="accent1"/>
                </a:solidFill>
                <a:latin typeface="+mn-lt"/>
              </a:rPr>
              <a:t>- Visit the company’s social media accounts to learn the latest news and company values </a:t>
            </a:r>
          </a:p>
        </p:txBody>
      </p:sp>
      <p:pic>
        <p:nvPicPr>
          <p:cNvPr id="15" name="Graphic 14" descr="Online Network outline">
            <a:extLst>
              <a:ext uri="{FF2B5EF4-FFF2-40B4-BE49-F238E27FC236}">
                <a16:creationId xmlns:a16="http://schemas.microsoft.com/office/drawing/2014/main" id="{B5594426-F954-9717-63DF-AA7485C7BE0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982461" y="4640580"/>
            <a:ext cx="1368879" cy="1368879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19FBE6A9-F9EC-B386-D8DB-8CD9D351FF0D}"/>
              </a:ext>
            </a:extLst>
          </p:cNvPr>
          <p:cNvSpPr txBox="1">
            <a:spLocks/>
          </p:cNvSpPr>
          <p:nvPr/>
        </p:nvSpPr>
        <p:spPr>
          <a:xfrm>
            <a:off x="571500" y="6490314"/>
            <a:ext cx="4953000" cy="4567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256032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512064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768096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4000" kern="0" dirty="0">
                <a:latin typeface="+mn-lt"/>
              </a:rPr>
              <a:t>3. Network</a:t>
            </a:r>
            <a:br>
              <a:rPr lang="en-US" sz="4800" kern="0" dirty="0">
                <a:latin typeface="+mn-lt"/>
              </a:rPr>
            </a:br>
            <a:endParaRPr lang="en-US" sz="3200" kern="0" dirty="0">
              <a:latin typeface="+mn-lt"/>
            </a:endParaRPr>
          </a:p>
          <a:p>
            <a:r>
              <a:rPr lang="en-US" sz="3600" kern="0" dirty="0">
                <a:solidFill>
                  <a:schemeClr val="accent1"/>
                </a:solidFill>
                <a:latin typeface="+mn-lt"/>
              </a:rPr>
              <a:t>- Connect with a current employee or someone in the industry for insights into the company and/or industry </a:t>
            </a:r>
          </a:p>
          <a:p>
            <a:pPr marL="342900" indent="-342900">
              <a:buFontTx/>
              <a:buChar char="-"/>
            </a:pPr>
            <a:endParaRPr lang="en-US" kern="0" dirty="0">
              <a:solidFill>
                <a:srgbClr val="000000"/>
              </a:solidFill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42C577E6-2C1F-55AF-BBB0-54C0F2C8A7C5}"/>
              </a:ext>
            </a:extLst>
          </p:cNvPr>
          <p:cNvSpPr txBox="1">
            <a:spLocks/>
          </p:cNvSpPr>
          <p:nvPr/>
        </p:nvSpPr>
        <p:spPr>
          <a:xfrm>
            <a:off x="6524822" y="6490314"/>
            <a:ext cx="4951413" cy="4381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256032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512064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768096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4000" kern="0" dirty="0">
                <a:latin typeface="+mn-lt"/>
              </a:rPr>
              <a:t>4. Ask Your Recruiter</a:t>
            </a:r>
            <a:br>
              <a:rPr lang="en-US" sz="4800" kern="0" dirty="0">
                <a:solidFill>
                  <a:schemeClr val="accent1"/>
                </a:solidFill>
                <a:latin typeface="+mn-lt"/>
              </a:rPr>
            </a:br>
            <a:endParaRPr lang="en-US" sz="3200" kern="0" dirty="0">
              <a:solidFill>
                <a:schemeClr val="accent1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en-US" sz="3600" kern="0" dirty="0">
                <a:solidFill>
                  <a:schemeClr val="accent1"/>
                </a:solidFill>
                <a:latin typeface="+mn-lt"/>
              </a:rPr>
              <a:t>- Screening tests </a:t>
            </a:r>
          </a:p>
          <a:p>
            <a:pPr>
              <a:spcAft>
                <a:spcPts val="1200"/>
              </a:spcAft>
            </a:pPr>
            <a:r>
              <a:rPr lang="en-US" sz="3600" kern="0" dirty="0">
                <a:solidFill>
                  <a:schemeClr val="accent1"/>
                </a:solidFill>
                <a:latin typeface="+mn-lt"/>
              </a:rPr>
              <a:t>- Interview process</a:t>
            </a:r>
          </a:p>
          <a:p>
            <a:pPr>
              <a:spcAft>
                <a:spcPts val="1200"/>
              </a:spcAft>
            </a:pPr>
            <a:r>
              <a:rPr lang="en-US" sz="3600" kern="0" dirty="0">
                <a:solidFill>
                  <a:schemeClr val="accent1"/>
                </a:solidFill>
                <a:latin typeface="+mn-lt"/>
              </a:rPr>
              <a:t>- Interview formal </a:t>
            </a:r>
          </a:p>
          <a:p>
            <a:pPr>
              <a:spcAft>
                <a:spcPts val="1200"/>
              </a:spcAft>
            </a:pPr>
            <a:r>
              <a:rPr lang="en-US" sz="3600" kern="0" dirty="0">
                <a:solidFill>
                  <a:schemeClr val="accent1"/>
                </a:solidFill>
                <a:latin typeface="+mn-lt"/>
              </a:rPr>
              <a:t>- Dress code 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3580133-36F6-30E7-9F9E-4DDFA9910CFB}"/>
              </a:ext>
            </a:extLst>
          </p:cNvPr>
          <p:cNvSpPr txBox="1">
            <a:spLocks/>
          </p:cNvSpPr>
          <p:nvPr/>
        </p:nvSpPr>
        <p:spPr>
          <a:xfrm>
            <a:off x="12668308" y="6510229"/>
            <a:ext cx="4951413" cy="47844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256032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512064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768096" marR="0" indent="-256032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4000" kern="0" dirty="0">
                <a:latin typeface="+mn-lt"/>
              </a:rPr>
              <a:t>5. Interview Team </a:t>
            </a:r>
            <a:br>
              <a:rPr lang="en-US" sz="4400" b="1" kern="0" dirty="0">
                <a:solidFill>
                  <a:schemeClr val="accent1"/>
                </a:solidFill>
                <a:latin typeface="+mn-lt"/>
              </a:rPr>
            </a:br>
            <a:endParaRPr lang="en-US" b="1" kern="0" dirty="0">
              <a:solidFill>
                <a:schemeClr val="accent1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en-US" sz="3600" kern="0" dirty="0">
                <a:solidFill>
                  <a:schemeClr val="accent1"/>
                </a:solidFill>
                <a:latin typeface="+mn-lt"/>
              </a:rPr>
              <a:t>- Know the names and titles of interview team members</a:t>
            </a:r>
          </a:p>
          <a:p>
            <a:pPr>
              <a:spcAft>
                <a:spcPts val="1200"/>
              </a:spcAft>
            </a:pPr>
            <a:r>
              <a:rPr lang="en-US" sz="3600" kern="0" dirty="0">
                <a:solidFill>
                  <a:schemeClr val="accent1"/>
                </a:solidFill>
                <a:latin typeface="+mn-lt"/>
              </a:rPr>
              <a:t>- Research to learn more about them on LinkedIn  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1B47A7AF-41E1-3483-E7BB-4942763907D4}"/>
              </a:ext>
            </a:extLst>
          </p:cNvPr>
          <p:cNvSpPr txBox="1">
            <a:spLocks/>
          </p:cNvSpPr>
          <p:nvPr/>
        </p:nvSpPr>
        <p:spPr>
          <a:xfrm>
            <a:off x="18665925" y="6470779"/>
            <a:ext cx="4951413" cy="4567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219456" marR="0" indent="-219456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438912" marR="0" indent="-219456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2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658368" marR="0" indent="-219456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2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1143000" marR="0" indent="-457200" algn="l" defTabSz="2438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24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184306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2205631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2568200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2930769" marR="0" indent="-389009" algn="l" defTabSz="2438400" rtl="0" eaLnBrk="1" latinLnBrk="0" hangingPunct="1">
              <a:lnSpc>
                <a:spcPct val="100000"/>
              </a:lnSpc>
              <a:spcBef>
                <a:spcPts val="290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36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r>
              <a:rPr lang="en-US" sz="4000" kern="0" dirty="0">
                <a:latin typeface="+mn-lt"/>
              </a:rPr>
              <a:t>6. Site Location</a:t>
            </a:r>
            <a:br>
              <a:rPr lang="en-US" sz="4400" b="1" kern="0" dirty="0">
                <a:solidFill>
                  <a:schemeClr val="accent1"/>
                </a:solidFill>
                <a:latin typeface="+mn-lt"/>
              </a:rPr>
            </a:br>
            <a:endParaRPr lang="en-US" sz="3600" b="1" kern="0" dirty="0">
              <a:solidFill>
                <a:schemeClr val="accent1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en-US" sz="3600" kern="0" dirty="0">
                <a:solidFill>
                  <a:schemeClr val="accent1"/>
                </a:solidFill>
                <a:latin typeface="+mn-lt"/>
              </a:rPr>
              <a:t>- Plan your visit to the interview site prior to the interview day </a:t>
            </a:r>
          </a:p>
          <a:p>
            <a:pPr>
              <a:spcAft>
                <a:spcPts val="1200"/>
              </a:spcAft>
            </a:pPr>
            <a:r>
              <a:rPr lang="en-US" sz="3600" kern="0" dirty="0">
                <a:solidFill>
                  <a:schemeClr val="accent1"/>
                </a:solidFill>
                <a:latin typeface="+mn-lt"/>
              </a:rPr>
              <a:t>- Perform a test run 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858B1252-4260-55B8-E69A-4656E4062BC2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9039" y="10645034"/>
            <a:ext cx="1054392" cy="1090782"/>
          </a:xfrm>
          <a:prstGeom prst="rect">
            <a:avLst/>
          </a:prstGeom>
        </p:spPr>
      </p:pic>
      <p:pic>
        <p:nvPicPr>
          <p:cNvPr id="35" name="Graphic 34" descr="Social network with solid fill">
            <a:extLst>
              <a:ext uri="{FF2B5EF4-FFF2-40B4-BE49-F238E27FC236}">
                <a16:creationId xmlns:a16="http://schemas.microsoft.com/office/drawing/2014/main" id="{93382915-35D0-F1AC-345B-4AE95A5C494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67170" y="10607040"/>
            <a:ext cx="1453366" cy="1453366"/>
          </a:xfrm>
          <a:prstGeom prst="rect">
            <a:avLst/>
          </a:prstGeom>
        </p:spPr>
      </p:pic>
      <p:pic>
        <p:nvPicPr>
          <p:cNvPr id="36" name="Graphic 35" descr="Meeting outline">
            <a:extLst>
              <a:ext uri="{FF2B5EF4-FFF2-40B4-BE49-F238E27FC236}">
                <a16:creationId xmlns:a16="http://schemas.microsoft.com/office/drawing/2014/main" id="{7F9B33B1-E45E-A26E-EAB2-AFC1B5C0C77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6710515" y="10535287"/>
            <a:ext cx="1368879" cy="1368879"/>
          </a:xfrm>
          <a:prstGeom prst="rect">
            <a:avLst/>
          </a:prstGeom>
        </p:spPr>
      </p:pic>
      <p:pic>
        <p:nvPicPr>
          <p:cNvPr id="37" name="Graphic 36" descr="Building outline">
            <a:extLst>
              <a:ext uri="{FF2B5EF4-FFF2-40B4-BE49-F238E27FC236}">
                <a16:creationId xmlns:a16="http://schemas.microsoft.com/office/drawing/2014/main" id="{D747533C-526C-4401-D784-6F7D430D20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2786479" y="10170955"/>
            <a:ext cx="1564862" cy="1564862"/>
          </a:xfrm>
          <a:prstGeom prst="rect">
            <a:avLst/>
          </a:prstGeom>
        </p:spPr>
      </p:pic>
      <p:sp>
        <p:nvSpPr>
          <p:cNvPr id="47" name="Footer Placeholder 6">
            <a:extLst>
              <a:ext uri="{FF2B5EF4-FFF2-40B4-BE49-F238E27FC236}">
                <a16:creationId xmlns:a16="http://schemas.microsoft.com/office/drawing/2014/main" id="{C5E81A99-F125-43F7-0A0B-81CBC4AD8C72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404933603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F005E-30B1-FE95-E47D-6CE14D314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324" y="530765"/>
            <a:ext cx="14649905" cy="1525588"/>
          </a:xfrm>
        </p:spPr>
        <p:txBody>
          <a:bodyPr/>
          <a:lstStyle/>
          <a:p>
            <a:r>
              <a:rPr lang="en-US" sz="8800" dirty="0">
                <a:solidFill>
                  <a:srgbClr val="000000"/>
                </a:solidFill>
                <a:effectLst/>
              </a:rPr>
              <a:t>Preparing for Your Interview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37D2AFE-DD52-5BB7-BAE2-DCB4C1F337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AAFE7BB-84B9-CC6E-EAE2-B21F4A2DF397}"/>
              </a:ext>
            </a:extLst>
          </p:cNvPr>
          <p:cNvSpPr txBox="1">
            <a:spLocks/>
          </p:cNvSpPr>
          <p:nvPr/>
        </p:nvSpPr>
        <p:spPr>
          <a:xfrm>
            <a:off x="3602980" y="11428749"/>
            <a:ext cx="1645229" cy="557784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1829379" rtl="0" eaLnBrk="1" latinLnBrk="0" hangingPunct="1">
              <a:defRPr sz="1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sz="4400" dirty="0">
                <a:solidFill>
                  <a:srgbClr val="000000"/>
                </a:solidFill>
                <a:effectLst/>
                <a:latin typeface="+mj-lt"/>
              </a:rPr>
              <a:t>Step 1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76B83A6-88C0-5041-47F2-D442C7D6C5BE}"/>
              </a:ext>
            </a:extLst>
          </p:cNvPr>
          <p:cNvGrpSpPr/>
          <p:nvPr/>
        </p:nvGrpSpPr>
        <p:grpSpPr>
          <a:xfrm>
            <a:off x="568325" y="3424427"/>
            <a:ext cx="23244175" cy="7744404"/>
            <a:chOff x="1892300" y="3424428"/>
            <a:chExt cx="20597431" cy="6862572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4414FE5-C188-1C37-D0D0-9D06D027C376}"/>
                </a:ext>
              </a:extLst>
            </p:cNvPr>
            <p:cNvSpPr/>
            <p:nvPr/>
          </p:nvSpPr>
          <p:spPr bwMode="auto">
            <a:xfrm>
              <a:off x="1892300" y="3424428"/>
              <a:ext cx="6862572" cy="6862572"/>
            </a:xfrm>
            <a:prstGeom prst="ellipse">
              <a:avLst/>
            </a:prstGeom>
            <a:noFill/>
            <a:ln w="38100">
              <a:solidFill>
                <a:schemeClr val="accent1">
                  <a:lumMod val="5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4400" dirty="0">
                  <a:solidFill>
                    <a:schemeClr val="tx1"/>
                  </a:solidFill>
                </a:rPr>
                <a:t>Visit your school's career services department for interview preparation offerings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8EFF192-5C76-9288-1A8B-7A821EA911D9}"/>
                </a:ext>
              </a:extLst>
            </p:cNvPr>
            <p:cNvSpPr/>
            <p:nvPr/>
          </p:nvSpPr>
          <p:spPr bwMode="auto">
            <a:xfrm>
              <a:off x="8769159" y="3424428"/>
              <a:ext cx="6862572" cy="6862572"/>
            </a:xfrm>
            <a:prstGeom prst="ellipse">
              <a:avLst/>
            </a:prstGeom>
            <a:noFill/>
            <a:ln w="34925">
              <a:solidFill>
                <a:schemeClr val="accent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lang="en-US" sz="4000" dirty="0">
                <a:solidFill>
                  <a:schemeClr val="tx1"/>
                </a:solidFill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lang="en-US" sz="4000" dirty="0">
                <a:solidFill>
                  <a:schemeClr val="tx1"/>
                </a:solidFill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r>
                <a:rPr lang="en-US" sz="4000" dirty="0">
                  <a:solidFill>
                    <a:schemeClr val="tx1"/>
                  </a:solidFill>
                </a:rPr>
                <a:t>Participate in mock interviews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r>
                <a:rPr lang="en-US" sz="4000" dirty="0">
                  <a:solidFill>
                    <a:schemeClr val="tx1"/>
                  </a:solidFill>
                </a:rPr>
                <a:t>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r>
                <a:rPr lang="en-US" sz="4000" dirty="0">
                  <a:solidFill>
                    <a:schemeClr val="tx1"/>
                  </a:solidFill>
                </a:rPr>
                <a:t>Study job descriptions and identify where your experience intersects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lang="en-US" sz="4000" dirty="0">
                <a:solidFill>
                  <a:schemeClr val="tx1"/>
                </a:solidFill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r>
                <a:rPr lang="en-US" sz="4000" dirty="0">
                  <a:solidFill>
                    <a:schemeClr val="tx1"/>
                  </a:solidFill>
                </a:rPr>
                <a:t>Structure your responses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lang="en-US" sz="4400" dirty="0">
                <a:solidFill>
                  <a:schemeClr val="tx1"/>
                </a:solidFill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IBM Plex Sans Light"/>
                <a:buNone/>
                <a:tabLst/>
              </a:pPr>
              <a:endParaRPr kumimoji="0" lang="en-US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B651418-1980-46C7-A027-8352E6E05960}"/>
                </a:ext>
              </a:extLst>
            </p:cNvPr>
            <p:cNvSpPr/>
            <p:nvPr/>
          </p:nvSpPr>
          <p:spPr bwMode="auto">
            <a:xfrm>
              <a:off x="15627159" y="3424428"/>
              <a:ext cx="6862572" cy="6862572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en-US" sz="4400" dirty="0">
                  <a:solidFill>
                    <a:schemeClr val="tx1"/>
                  </a:solidFill>
                </a:rPr>
                <a:t>Prepare a list of questions</a:t>
              </a:r>
            </a:p>
            <a:p>
              <a:pPr lvl="0" algn="ctr"/>
              <a:endParaRPr lang="en-US" sz="4400" dirty="0">
                <a:solidFill>
                  <a:schemeClr val="tx1"/>
                </a:solidFill>
              </a:endParaRPr>
            </a:p>
            <a:p>
              <a:pPr lvl="0" algn="ctr"/>
              <a:r>
                <a:rPr lang="en-US" sz="4400" dirty="0">
                  <a:solidFill>
                    <a:schemeClr val="tx1"/>
                  </a:solidFill>
                </a:rPr>
                <a:t>Take a notepad and pen </a:t>
              </a:r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8896CA9-4E9F-1982-F5EC-580D5D9250BB}"/>
              </a:ext>
            </a:extLst>
          </p:cNvPr>
          <p:cNvSpPr txBox="1">
            <a:spLocks/>
          </p:cNvSpPr>
          <p:nvPr/>
        </p:nvSpPr>
        <p:spPr>
          <a:xfrm>
            <a:off x="11378439" y="11458054"/>
            <a:ext cx="1645229" cy="557784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1829379" rtl="0" eaLnBrk="1" latinLnBrk="0" hangingPunct="1">
              <a:defRPr sz="1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sz="4400" dirty="0">
                <a:solidFill>
                  <a:srgbClr val="000000"/>
                </a:solidFill>
                <a:effectLst/>
                <a:latin typeface="+mj-lt"/>
              </a:rPr>
              <a:t>Step 2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4CA28D7-AF24-2583-04FD-F73063337A32}"/>
              </a:ext>
            </a:extLst>
          </p:cNvPr>
          <p:cNvSpPr txBox="1">
            <a:spLocks/>
          </p:cNvSpPr>
          <p:nvPr/>
        </p:nvSpPr>
        <p:spPr>
          <a:xfrm>
            <a:off x="19117683" y="11428749"/>
            <a:ext cx="1645229" cy="557784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1829379" rtl="0" eaLnBrk="1" latinLnBrk="0" hangingPunct="1">
              <a:defRPr sz="1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sz="4400" dirty="0">
                <a:solidFill>
                  <a:srgbClr val="000000"/>
                </a:solidFill>
                <a:effectLst/>
                <a:latin typeface="+mj-lt"/>
              </a:rPr>
              <a:t>Step 3</a:t>
            </a:r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3E86398A-6542-8A1F-ADF3-6F6ABF37E64A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1343593947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55DCE7-0C6F-495E-BBDE-915893A8066B}"/>
              </a:ext>
            </a:extLst>
          </p:cNvPr>
          <p:cNvSpPr/>
          <p:nvPr/>
        </p:nvSpPr>
        <p:spPr>
          <a:xfrm>
            <a:off x="277934" y="55622"/>
            <a:ext cx="9899285" cy="9284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251161"/>
            <a:r>
              <a:rPr lang="en-US" sz="8800" dirty="0">
                <a:latin typeface="+mj-lt"/>
              </a:rPr>
              <a:t>Showcase Your Foundational Skills</a:t>
            </a:r>
          </a:p>
          <a:p>
            <a:pPr defTabSz="3251161"/>
            <a:endParaRPr lang="en-US" sz="6400" b="1" dirty="0"/>
          </a:p>
          <a:p>
            <a:pPr defTabSz="3251161">
              <a:buClr>
                <a:schemeClr val="bg1"/>
              </a:buClr>
            </a:pPr>
            <a:r>
              <a:rPr lang="en-US" sz="4000" dirty="0">
                <a:solidFill>
                  <a:schemeClr val="accent1"/>
                </a:solidFill>
              </a:rPr>
              <a:t>Interviewers may not directly ask you about foundational skills, so it’s up to you to showcase them</a:t>
            </a:r>
          </a:p>
          <a:p>
            <a:pPr defTabSz="3251161">
              <a:buClr>
                <a:schemeClr val="bg1"/>
              </a:buClr>
            </a:pPr>
            <a:endParaRPr lang="en-US" sz="4000" dirty="0">
              <a:solidFill>
                <a:schemeClr val="accent1"/>
              </a:solidFill>
            </a:endParaRPr>
          </a:p>
          <a:p>
            <a:pPr defTabSz="3251161">
              <a:buClr>
                <a:schemeClr val="bg1"/>
              </a:buClr>
            </a:pPr>
            <a:endParaRPr lang="en-US" sz="4000" dirty="0">
              <a:solidFill>
                <a:schemeClr val="accent1"/>
              </a:solidFill>
            </a:endParaRPr>
          </a:p>
          <a:p>
            <a:pPr defTabSz="3251161">
              <a:buClr>
                <a:schemeClr val="bg1"/>
              </a:buClr>
            </a:pPr>
            <a:r>
              <a:rPr lang="en-US" sz="4000" dirty="0">
                <a:solidFill>
                  <a:schemeClr val="accent1"/>
                </a:solidFill>
              </a:rPr>
              <a:t>Interviewers will draw conclusions and make determinations from how you answer their questions</a:t>
            </a:r>
          </a:p>
          <a:p>
            <a:pPr indent="-762010" defTabSz="3251161">
              <a:buClr>
                <a:schemeClr val="bg1"/>
              </a:buClr>
            </a:pPr>
            <a:endParaRPr lang="en-US" sz="3733" dirty="0">
              <a:solidFill>
                <a:schemeClr val="accent2"/>
              </a:solidFill>
              <a:latin typeface="IBM Plex Sans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6D11841-BEA3-4AC6-B6C7-F86D0C4ECC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9671006"/>
              </p:ext>
            </p:extLst>
          </p:nvPr>
        </p:nvGraphicFramePr>
        <p:xfrm>
          <a:off x="10611923" y="946840"/>
          <a:ext cx="22894096" cy="11822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74962CC9-9ACF-4952-B65A-FE9512E3DC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661680" y="5933972"/>
            <a:ext cx="1463040" cy="184805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0B3A453-72FC-6E0F-91C9-0030800ABE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3689069" y="12938760"/>
            <a:ext cx="123431" cy="246221"/>
          </a:xfrm>
        </p:spPr>
        <p:txBody>
          <a:bodyPr/>
          <a:lstStyle/>
          <a:p>
            <a:fld id="{59395FB3-9C97-154F-86B2-7E381B95126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Footer Placeholder 6">
            <a:extLst>
              <a:ext uri="{FF2B5EF4-FFF2-40B4-BE49-F238E27FC236}">
                <a16:creationId xmlns:a16="http://schemas.microsoft.com/office/drawing/2014/main" id="{97E0ECEC-13A7-F93F-6DF7-CB8D29F5C86C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32751936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09ADE85-53F4-B8BC-6B9F-E7EDAB8C39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8913" y="-895172"/>
            <a:ext cx="12769171" cy="136611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F265D9-C077-F215-1A9B-843F11C8E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734" y="355312"/>
            <a:ext cx="11617515" cy="1901015"/>
          </a:xfrm>
        </p:spPr>
        <p:txBody>
          <a:bodyPr/>
          <a:lstStyle/>
          <a:p>
            <a:r>
              <a:rPr lang="en-US" sz="8800" dirty="0">
                <a:solidFill>
                  <a:schemeClr val="tx1"/>
                </a:solidFill>
              </a:rPr>
              <a:t>What Should I Ask?</a:t>
            </a:r>
            <a:br>
              <a:rPr lang="en-US" sz="8800" dirty="0">
                <a:solidFill>
                  <a:schemeClr val="tx1"/>
                </a:solidFill>
              </a:rPr>
            </a:br>
            <a:br>
              <a:rPr lang="en-US" sz="8800" dirty="0">
                <a:solidFill>
                  <a:schemeClr val="tx1"/>
                </a:solidFill>
              </a:rPr>
            </a:br>
            <a:endParaRPr lang="en-US" sz="88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57A3DA-B3D9-4B2B-02C8-493CCD7284BB}"/>
              </a:ext>
            </a:extLst>
          </p:cNvPr>
          <p:cNvSpPr txBox="1"/>
          <p:nvPr/>
        </p:nvSpPr>
        <p:spPr>
          <a:xfrm>
            <a:off x="576072" y="2285063"/>
            <a:ext cx="9482328" cy="67208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marL="444465" indent="-446749" algn="l" defTabSz="2438400">
              <a:spcBef>
                <a:spcPts val="2900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ea typeface="+mj-ea"/>
              <a:cs typeface="+mj-cs"/>
              <a:sym typeface="IBM Plex Sans Ligh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255695-5431-9DB6-21AC-D9CC7A63C04E}"/>
              </a:ext>
            </a:extLst>
          </p:cNvPr>
          <p:cNvSpPr/>
          <p:nvPr/>
        </p:nvSpPr>
        <p:spPr>
          <a:xfrm>
            <a:off x="288735" y="2841516"/>
            <a:ext cx="11617515" cy="803296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1219170" fontAlgn="base">
              <a:spcAft>
                <a:spcPct val="0"/>
              </a:spcAft>
              <a:buClr>
                <a:schemeClr val="bg1"/>
              </a:buClr>
              <a:buSzPct val="90000"/>
            </a:pPr>
            <a:r>
              <a:rPr lang="en-US" sz="4000" dirty="0">
                <a:solidFill>
                  <a:schemeClr val="accent1"/>
                </a:solidFill>
              </a:rPr>
              <a:t>Ask about the organization to understand how it aligns with your career goals and ambitions</a:t>
            </a:r>
          </a:p>
          <a:p>
            <a:pPr defTabSz="1219170" fontAlgn="base">
              <a:spcAft>
                <a:spcPct val="0"/>
              </a:spcAft>
              <a:buClr>
                <a:schemeClr val="bg1"/>
              </a:buClr>
              <a:buSzPct val="90000"/>
            </a:pPr>
            <a:endParaRPr lang="en-US" sz="4000" dirty="0">
              <a:solidFill>
                <a:schemeClr val="accent1"/>
              </a:solidFill>
            </a:endParaRPr>
          </a:p>
          <a:p>
            <a:pPr defTabSz="1219170" fontAlgn="base">
              <a:spcAft>
                <a:spcPct val="0"/>
              </a:spcAft>
              <a:buClr>
                <a:schemeClr val="bg1"/>
              </a:buClr>
              <a:buSzPct val="90000"/>
            </a:pPr>
            <a:r>
              <a:rPr lang="en-US" sz="4000" dirty="0">
                <a:solidFill>
                  <a:schemeClr val="accent1"/>
                </a:solidFill>
              </a:rPr>
              <a:t>What is the work schedule for each day and week?</a:t>
            </a:r>
          </a:p>
          <a:p>
            <a:pPr defTabSz="1219170" fontAlgn="base">
              <a:spcAft>
                <a:spcPct val="0"/>
              </a:spcAft>
              <a:buClr>
                <a:schemeClr val="bg1"/>
              </a:buClr>
              <a:buSzPct val="90000"/>
            </a:pPr>
            <a:endParaRPr lang="en-US" sz="4000" dirty="0">
              <a:solidFill>
                <a:schemeClr val="accent1"/>
              </a:solidFill>
            </a:endParaRPr>
          </a:p>
          <a:p>
            <a:pPr defTabSz="1219170" fontAlgn="base">
              <a:spcAft>
                <a:spcPct val="0"/>
              </a:spcAft>
              <a:buClr>
                <a:schemeClr val="bg1"/>
              </a:buClr>
              <a:buSzPct val="90000"/>
            </a:pPr>
            <a:r>
              <a:rPr lang="en-US" sz="4000" dirty="0">
                <a:solidFill>
                  <a:schemeClr val="accent1"/>
                </a:solidFill>
              </a:rPr>
              <a:t>What will the day-to-day work entail?</a:t>
            </a:r>
          </a:p>
          <a:p>
            <a:pPr defTabSz="1219170" fontAlgn="base">
              <a:spcAft>
                <a:spcPct val="0"/>
              </a:spcAft>
              <a:buClr>
                <a:schemeClr val="bg1"/>
              </a:buClr>
              <a:buSzPct val="90000"/>
            </a:pPr>
            <a:endParaRPr lang="en-US" sz="4000" dirty="0">
              <a:solidFill>
                <a:schemeClr val="accent1"/>
              </a:solidFill>
            </a:endParaRPr>
          </a:p>
          <a:p>
            <a:pPr defTabSz="1219170" fontAlgn="base">
              <a:spcAft>
                <a:spcPct val="0"/>
              </a:spcAft>
              <a:buClr>
                <a:schemeClr val="bg1"/>
              </a:buClr>
              <a:buSzPct val="90000"/>
            </a:pPr>
            <a:r>
              <a:rPr lang="en-US" sz="4000" dirty="0">
                <a:solidFill>
                  <a:schemeClr val="accent1"/>
                </a:solidFill>
              </a:rPr>
              <a:t>What are some challenges of working at the company?</a:t>
            </a:r>
          </a:p>
          <a:p>
            <a:pPr defTabSz="1219170" fontAlgn="base">
              <a:spcAft>
                <a:spcPct val="0"/>
              </a:spcAft>
              <a:buClr>
                <a:schemeClr val="bg1"/>
              </a:buClr>
              <a:buSzPct val="90000"/>
            </a:pPr>
            <a:endParaRPr lang="en-US" sz="4000" dirty="0">
              <a:solidFill>
                <a:schemeClr val="accent1"/>
              </a:solidFill>
            </a:endParaRPr>
          </a:p>
          <a:p>
            <a:pPr defTabSz="1219170" fontAlgn="base">
              <a:spcAft>
                <a:spcPct val="0"/>
              </a:spcAft>
              <a:buClr>
                <a:schemeClr val="bg1"/>
              </a:buClr>
              <a:buSzPct val="90000"/>
            </a:pPr>
            <a:r>
              <a:rPr lang="en-US" sz="4000" dirty="0">
                <a:solidFill>
                  <a:schemeClr val="accent1"/>
                </a:solidFill>
              </a:rPr>
              <a:t>Ask about career progression; opportunities for growth at the company?</a:t>
            </a:r>
          </a:p>
          <a:p>
            <a:pPr marL="285750" indent="-285750" defTabSz="1219170" fontAlgn="base">
              <a:spcAft>
                <a:spcPct val="0"/>
              </a:spcAft>
              <a:buClr>
                <a:schemeClr val="bg1"/>
              </a:buClr>
              <a:buSzPct val="90000"/>
              <a:buFont typeface="Wingdings" panose="05000000000000000000" pitchFamily="2" charset="2"/>
              <a:buChar char="Ø"/>
            </a:pPr>
            <a:endParaRPr lang="en-US" sz="1200" dirty="0">
              <a:solidFill>
                <a:schemeClr val="accent2"/>
              </a:solidFill>
              <a:latin typeface="IBM Plex Sans"/>
            </a:endParaRPr>
          </a:p>
          <a:p>
            <a:pPr marL="285750" indent="-285750" defTabSz="1219170" fontAlgn="base">
              <a:spcAft>
                <a:spcPct val="0"/>
              </a:spcAft>
              <a:buClr>
                <a:schemeClr val="bg1"/>
              </a:buClr>
              <a:buSzPct val="90000"/>
              <a:buFont typeface="Wingdings" panose="05000000000000000000" pitchFamily="2" charset="2"/>
              <a:buChar char="Ø"/>
            </a:pPr>
            <a:endParaRPr lang="en-US" sz="1200" dirty="0">
              <a:solidFill>
                <a:schemeClr val="accent2"/>
              </a:solidFill>
              <a:latin typeface="IBM Plex Sans"/>
            </a:endParaRPr>
          </a:p>
          <a:p>
            <a:pPr marL="285750" indent="-285750" defTabSz="1219170" fontAlgn="base">
              <a:spcAft>
                <a:spcPct val="0"/>
              </a:spcAft>
              <a:buClr>
                <a:schemeClr val="bg1"/>
              </a:buClr>
              <a:buSzPct val="90000"/>
              <a:buFont typeface="Wingdings" panose="05000000000000000000" pitchFamily="2" charset="2"/>
              <a:buChar char="Ø"/>
            </a:pPr>
            <a:endParaRPr lang="en-US" sz="1200" dirty="0">
              <a:solidFill>
                <a:schemeClr val="accent2"/>
              </a:solidFill>
              <a:latin typeface="IBM Plex Sans"/>
            </a:endParaRPr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EFFAD60C-418C-0F75-C36C-0A144D2BFB6F}"/>
              </a:ext>
            </a:extLst>
          </p:cNvPr>
          <p:cNvSpPr txBox="1">
            <a:spLocks/>
          </p:cNvSpPr>
          <p:nvPr/>
        </p:nvSpPr>
        <p:spPr>
          <a:xfrm>
            <a:off x="568324" y="12804235"/>
            <a:ext cx="4956176" cy="381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68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937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406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8759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344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813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2827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7518" algn="l" defTabSz="182937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BM Accelerate 2024</a:t>
            </a:r>
          </a:p>
        </p:txBody>
      </p:sp>
    </p:spTree>
    <p:extLst>
      <p:ext uri="{BB962C8B-B14F-4D97-AF65-F5344CB8AC3E}">
        <p14:creationId xmlns:p14="http://schemas.microsoft.com/office/powerpoint/2010/main" val="159022205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SvIRjFUnoR0uJ7HOdPjA"/>
</p:tagLst>
</file>

<file path=ppt/theme/theme1.xml><?xml version="1.0" encoding="utf-8"?>
<a:theme xmlns:a="http://schemas.openxmlformats.org/drawingml/2006/main" name="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sample_layouts_v_1_4_Plex" id="{F68CA885-2605-BE4F-8630-AEB6EDC5F679}" vid="{24DF7E8B-5A1F-2E42-9696-3857CA68B770}"/>
    </a:ext>
  </a:extLst>
</a:theme>
</file>

<file path=ppt/theme/theme2.xml><?xml version="1.0" encoding="utf-8"?>
<a:theme xmlns:a="http://schemas.openxmlformats.org/drawingml/2006/main" name="1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brand_covers_v_1_3_Plex" id="{4B1BAD14-E3AE-1547-BBFF-D35DF43D1D40}" vid="{55F21DA4-A42B-5D45-BF18-F6E83621A95D}"/>
    </a:ext>
  </a:extLst>
</a:theme>
</file>

<file path=ppt/theme/theme3.xml><?xml version="1.0" encoding="utf-8"?>
<a:theme xmlns:a="http://schemas.openxmlformats.org/drawingml/2006/main" name="2_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EP Presentation Template v3" id="{9850C873-E891-D54F-BFB4-D5272E8092F7}" vid="{36042082-4367-B746-8D68-5B28C3E31411}"/>
    </a:ext>
  </a:extLst>
</a:theme>
</file>

<file path=ppt/theme/theme4.xml><?xml version="1.0" encoding="utf-8"?>
<a:theme xmlns:a="http://schemas.openxmlformats.org/drawingml/2006/main" name="1_IBM 2019 Master template (white background)">
  <a:themeElements>
    <a:clrScheme name="Custom 1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Plex" id="{570BCD8D-F9BA-FE4D-A5E6-8D1DC87465ED}" vid="{58742E8B-88EA-7641-828C-D8727E5B3CAD}"/>
    </a:ext>
  </a:extLst>
</a:theme>
</file>

<file path=ppt/theme/theme5.xml><?xml version="1.0" encoding="utf-8"?>
<a:theme xmlns:a="http://schemas.openxmlformats.org/drawingml/2006/main" name="IBM Brand Template 2022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Master_Presentation_2021_V01_Plex" id="{BD398A2B-0B96-D843-9A4A-05239798B6A1}" vid="{46683C84-C800-D441-9101-471717108C97}"/>
    </a:ext>
  </a:extLst>
</a:theme>
</file>

<file path=ppt/theme/theme6.xml><?xml version="1.0" encoding="utf-8"?>
<a:theme xmlns:a="http://schemas.openxmlformats.org/drawingml/2006/main" name="IBM Brand Template 2022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Master_Presentation_2021_V01_Plex" id="{BD398A2B-0B96-D843-9A4A-05239798B6A1}" vid="{46683C84-C800-D441-9101-471717108C9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presentation template</Template>
  <TotalTime>1190</TotalTime>
  <Words>1406</Words>
  <Application>Microsoft Macintosh PowerPoint</Application>
  <PresentationFormat>Custom</PresentationFormat>
  <Paragraphs>233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3" baseType="lpstr">
      <vt:lpstr>Arial</vt:lpstr>
      <vt:lpstr>IBM Plex Sans Light</vt:lpstr>
      <vt:lpstr>IBM Plex Sans</vt:lpstr>
      <vt:lpstr>IBM Plex Sans Text</vt:lpstr>
      <vt:lpstr>IBM Plex Sans ExtraLight</vt:lpstr>
      <vt:lpstr>.AppleSystemUIFont</vt:lpstr>
      <vt:lpstr>IBM Plex Serif Light</vt:lpstr>
      <vt:lpstr>Wingdings</vt:lpstr>
      <vt:lpstr>Myriad Pro Light</vt:lpstr>
      <vt:lpstr>HelvNeue Light for IBM</vt:lpstr>
      <vt:lpstr>IBM presentation template</vt:lpstr>
      <vt:lpstr>1_IBM presentation template</vt:lpstr>
      <vt:lpstr>2_IBM 2019 Master template (light gray background)</vt:lpstr>
      <vt:lpstr>1_IBM 2019 Master template (white background)</vt:lpstr>
      <vt:lpstr>think-cell Slide</vt:lpstr>
      <vt:lpstr>IBM Accelerate</vt:lpstr>
      <vt:lpstr>Announcements:</vt:lpstr>
      <vt:lpstr>Preparing for My Interview  Equipping you with key tactics and effective     strategies for interview preparedness  </vt:lpstr>
      <vt:lpstr>Intro Slide — </vt:lpstr>
      <vt:lpstr>Key Concepts —   </vt:lpstr>
      <vt:lpstr>PowerPoint Presentation</vt:lpstr>
      <vt:lpstr>Preparing for Your Interview</vt:lpstr>
      <vt:lpstr>PowerPoint Presentation</vt:lpstr>
      <vt:lpstr>What Should I Ask?  </vt:lpstr>
      <vt:lpstr>What Should I NOT Ask?  </vt:lpstr>
      <vt:lpstr>Behavioral Interviews</vt:lpstr>
      <vt:lpstr>Behavioral Interviewing </vt:lpstr>
      <vt:lpstr>Case Interviews </vt:lpstr>
      <vt:lpstr>Case Interviewing </vt:lpstr>
      <vt:lpstr>Technical Interviews</vt:lpstr>
      <vt:lpstr>Technical Interviewing </vt:lpstr>
      <vt:lpstr>PowerPoint Presentation</vt:lpstr>
      <vt:lpstr>Thank You!  Next Foundational Skills Session:    Monday, July 8th  Bringing Your Whole Self to Work      Importance of Mental Health &amp; Imposter Syndrome   See you then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s  Sample layouts</dc:title>
  <dc:subject/>
  <dc:creator>Carly Salas</dc:creator>
  <cp:keywords/>
  <dc:description/>
  <cp:lastModifiedBy>Vanessa Martinez</cp:lastModifiedBy>
  <cp:revision>42</cp:revision>
  <cp:lastPrinted>2019-04-25T15:14:05Z</cp:lastPrinted>
  <dcterms:created xsi:type="dcterms:W3CDTF">2023-01-27T18:23:27Z</dcterms:created>
  <dcterms:modified xsi:type="dcterms:W3CDTF">2024-07-01T18:35:10Z</dcterms:modified>
  <cp:category/>
</cp:coreProperties>
</file>